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ags/tag2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5020" r:id="rId4"/>
    <p:sldMasterId id="2147485610" r:id="rId5"/>
  </p:sldMasterIdLst>
  <p:notesMasterIdLst>
    <p:notesMasterId r:id="rId25"/>
  </p:notesMasterIdLst>
  <p:handoutMasterIdLst>
    <p:handoutMasterId r:id="rId26"/>
  </p:handoutMasterIdLst>
  <p:sldIdLst>
    <p:sldId id="532" r:id="rId6"/>
    <p:sldId id="563" r:id="rId7"/>
    <p:sldId id="564" r:id="rId8"/>
    <p:sldId id="565" r:id="rId9"/>
    <p:sldId id="566" r:id="rId10"/>
    <p:sldId id="567" r:id="rId11"/>
    <p:sldId id="568" r:id="rId12"/>
    <p:sldId id="538" r:id="rId13"/>
    <p:sldId id="569" r:id="rId14"/>
    <p:sldId id="570" r:id="rId15"/>
    <p:sldId id="571" r:id="rId16"/>
    <p:sldId id="572" r:id="rId17"/>
    <p:sldId id="573" r:id="rId18"/>
    <p:sldId id="575" r:id="rId19"/>
    <p:sldId id="576" r:id="rId20"/>
    <p:sldId id="578" r:id="rId21"/>
    <p:sldId id="581" r:id="rId22"/>
    <p:sldId id="580" r:id="rId23"/>
    <p:sldId id="550" r:id="rId24"/>
  </p:sldIdLst>
  <p:sldSz cx="12192000" cy="6858000"/>
  <p:notesSz cx="6858000" cy="9144000"/>
  <p:custDataLst>
    <p:tags r:id="rId27"/>
  </p:custDataLst>
  <p:defaultTextStyle>
    <a:defPPr>
      <a:defRPr lang="en-US"/>
    </a:defPPr>
    <a:lvl1pPr marL="0" algn="l" defTabSz="91435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78" algn="l" defTabSz="91435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54" algn="l" defTabSz="91435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532" algn="l" defTabSz="91435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709" algn="l" defTabSz="91435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886" algn="l" defTabSz="91435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062" algn="l" defTabSz="91435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240" algn="l" defTabSz="91435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418" algn="l" defTabSz="91435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Evan Santiago" initials="ES" lastIdx="1" clrIdx="0"/>
  <p:cmAuthor id="2" name="Evan Santiago" initials="ES [2]" lastIdx="1" clrIdx="1"/>
  <p:cmAuthor id="3" name="Evan Santiago" initials="ES [3]" lastIdx="1" clrIdx="2"/>
  <p:cmAuthor id="4" name="Evan Santiago" initials="ES [4]" lastIdx="1" clrIdx="3"/>
  <p:cmAuthor id="5" name="Evan Santiago" initials="ES [5]" lastIdx="1" clrIdx="4"/>
  <p:cmAuthor id="6" name="Evan Santiago" initials="ES [6]" lastIdx="1" clrIdx="5"/>
  <p:cmAuthor id="7" name="Evan Santiago" initials="ES [7]" lastIdx="1" clrIdx="6"/>
  <p:cmAuthor id="8" name="Evan Santiago" initials="ES [8]" lastIdx="1" clrIdx="7"/>
  <p:cmAuthor id="9" name="Evan Santiago" initials="ES [9]" lastIdx="1" clrIdx="8"/>
  <p:cmAuthor id="10" name="Evan Santiago" initials="ES [10]" lastIdx="1" clrIdx="9"/>
  <p:cmAuthor id="11" name="Evan Santiago" initials="ES [11]" lastIdx="1" clrIdx="10"/>
  <p:cmAuthor id="12" name="Evan Santiago" initials="ES [12]" lastIdx="1" clrIdx="11"/>
  <p:cmAuthor id="13" name="Evan Santiago" initials="ES [13]" lastIdx="1" clrIdx="12"/>
  <p:cmAuthor id="14" name="Evan Santiago" initials="ES [14]" lastIdx="1" clrIdx="13"/>
  <p:cmAuthor id="15" name="Evan Santiago" initials="ES [15]" lastIdx="1" clrIdx="14"/>
  <p:cmAuthor id="16" name="Evan Santiago" initials="ES [16]" lastIdx="1" clrIdx="15"/>
  <p:cmAuthor id="17" name="Evan Santiago" initials="ES [2] [2]" lastIdx="1" clrIdx="16"/>
  <p:cmAuthor id="18" name="Evan Santiago" initials="ES [4] [2]" lastIdx="1" clrIdx="17"/>
  <p:cmAuthor id="19" name="Evan Santiago" initials="ES [17]" lastIdx="1" clrIdx="18"/>
  <p:cmAuthor id="20" name="Evan Santiago" initials="ES [18]" lastIdx="1" clrIdx="19"/>
  <p:cmAuthor id="21" name="Evan Santiago" initials="ES [19]" lastIdx="1" clrIdx="20"/>
  <p:cmAuthor id="22" name="Evan Santiago" initials="ES [20]" lastIdx="1" clrIdx="21"/>
  <p:cmAuthor id="23" name="Evan Santiago" initials="ES [21]" lastIdx="1" clrIdx="22"/>
  <p:cmAuthor id="24" name="Evan Santiago" initials="ES [22]" lastIdx="1" clrIdx="23"/>
  <p:cmAuthor id="25" name="Evan Santiago" initials="ES [23]" lastIdx="1" clrIdx="24"/>
  <p:cmAuthor id="26" name="Evan Santiago" initials="ES [24]" lastIdx="1" clrIdx="25"/>
  <p:cmAuthor id="27" name="Evan Santiago" initials="ES [25]" lastIdx="1" clrIdx="26"/>
  <p:cmAuthor id="28" name="Evan Santiago" initials="ES [26]" lastIdx="1" clrIdx="27"/>
  <p:cmAuthor id="29" name="Evan Santiago" initials="ES [27]" lastIdx="1" clrIdx="28"/>
  <p:cmAuthor id="30" name="Michelle Pruett" initials="MP" lastIdx="28" clrIdx="29">
    <p:extLst>
      <p:ext uri="{19B8F6BF-5375-455C-9EA6-DF929625EA0E}">
        <p15:presenceInfo xmlns:p15="http://schemas.microsoft.com/office/powerpoint/2012/main" userId="S::m.pruett@criteo.com::605966d9-2380-4d0d-a878-d7d00c22c8d5" providerId="AD"/>
      </p:ext>
    </p:extLst>
  </p:cmAuthor>
  <p:cmAuthor id="31" name="Chris Mutsaerts" initials="CM" lastIdx="32" clrIdx="30">
    <p:extLst>
      <p:ext uri="{19B8F6BF-5375-455C-9EA6-DF929625EA0E}">
        <p15:presenceInfo xmlns:p15="http://schemas.microsoft.com/office/powerpoint/2012/main" userId="S::c.mutsaerts@criteo.com::f9922e34-64be-4d1b-85c7-8360449c253b" providerId="AD"/>
      </p:ext>
    </p:extLst>
  </p:cmAuthor>
  <p:cmAuthor id="32" name="Clemence Vermersch" initials="CV" lastIdx="8" clrIdx="31">
    <p:extLst>
      <p:ext uri="{19B8F6BF-5375-455C-9EA6-DF929625EA0E}">
        <p15:presenceInfo xmlns:p15="http://schemas.microsoft.com/office/powerpoint/2012/main" userId="S::c.vermersch@criteo.com::9b8bb81e-d49c-4a12-aca6-a02b6b149819" providerId="AD"/>
      </p:ext>
    </p:extLst>
  </p:cmAuthor>
  <p:cmAuthor id="33" name="Kelsey Wahl" initials="KW" lastIdx="43" clrIdx="32">
    <p:extLst>
      <p:ext uri="{19B8F6BF-5375-455C-9EA6-DF929625EA0E}">
        <p15:presenceInfo xmlns:p15="http://schemas.microsoft.com/office/powerpoint/2012/main" userId="S::k.wahl@criteo.com::271bd670-a98c-41ab-8469-e2663dca73f2" providerId="AD"/>
      </p:ext>
    </p:extLst>
  </p:cmAuthor>
  <p:cmAuthor id="34" name="Shruthi Chindalur" initials="SC" lastIdx="9" clrIdx="33">
    <p:extLst>
      <p:ext uri="{19B8F6BF-5375-455C-9EA6-DF929625EA0E}">
        <p15:presenceInfo xmlns:p15="http://schemas.microsoft.com/office/powerpoint/2012/main" userId="S::s.chindalur@criteo.com::e5692b37-a34e-424c-b78e-c6ed2e5902fa" providerId="AD"/>
      </p:ext>
    </p:extLst>
  </p:cmAuthor>
  <p:cmAuthor id="35" name="Edouard Lassalle" initials="EL" lastIdx="27" clrIdx="34">
    <p:extLst>
      <p:ext uri="{19B8F6BF-5375-455C-9EA6-DF929625EA0E}">
        <p15:presenceInfo xmlns:p15="http://schemas.microsoft.com/office/powerpoint/2012/main" userId="S::e.lassalle@criteo.com::ed98ae6a-d016-4d00-81c1-0a4a20fd8c02" providerId="AD"/>
      </p:ext>
    </p:extLst>
  </p:cmAuthor>
  <p:cmAuthor id="36" name="Brigette Kierulf" initials="BK" lastIdx="6" clrIdx="35">
    <p:extLst>
      <p:ext uri="{19B8F6BF-5375-455C-9EA6-DF929625EA0E}">
        <p15:presenceInfo xmlns:p15="http://schemas.microsoft.com/office/powerpoint/2012/main" userId="S::b.kierulf@criteo.com::99f2c1df-28f0-4c5b-aa75-7cb322e845c6" providerId="AD"/>
      </p:ext>
    </p:extLst>
  </p:cmAuthor>
  <p:cmAuthor id="37" name="Anthony Duong" initials="AD" lastIdx="8" clrIdx="36">
    <p:extLst>
      <p:ext uri="{19B8F6BF-5375-455C-9EA6-DF929625EA0E}">
        <p15:presenceInfo xmlns:p15="http://schemas.microsoft.com/office/powerpoint/2012/main" userId="S::a.duong@criteo.com::50407ffa-7af6-4b6d-a8a2-09882c24678e" providerId="AD"/>
      </p:ext>
    </p:extLst>
  </p:cmAuthor>
  <p:cmAuthor id="38" name="David Fox" initials="DF" lastIdx="6" clrIdx="37">
    <p:extLst>
      <p:ext uri="{19B8F6BF-5375-455C-9EA6-DF929625EA0E}">
        <p15:presenceInfo xmlns:p15="http://schemas.microsoft.com/office/powerpoint/2012/main" userId="S::d.fox@criteo.com::ece6ab5f-c9f3-4343-849f-f0318d8009c0" providerId="AD"/>
      </p:ext>
    </p:extLst>
  </p:cmAuthor>
  <p:cmAuthor id="39" name="Anthony Spano" initials="AS" lastIdx="5" clrIdx="38">
    <p:extLst>
      <p:ext uri="{19B8F6BF-5375-455C-9EA6-DF929625EA0E}">
        <p15:presenceInfo xmlns:p15="http://schemas.microsoft.com/office/powerpoint/2012/main" userId="S::a.spano@criteo.com::9f28d0c3-0045-4eee-8fa5-484003711c30" providerId="AD"/>
      </p:ext>
    </p:extLst>
  </p:cmAuthor>
  <p:cmAuthor id="40" name="Katie Travers" initials="KT" lastIdx="8" clrIdx="39">
    <p:extLst>
      <p:ext uri="{19B8F6BF-5375-455C-9EA6-DF929625EA0E}">
        <p15:presenceInfo xmlns:p15="http://schemas.microsoft.com/office/powerpoint/2012/main" userId="S::k.travers@criteo.com::5f319f14-7a58-44da-9bd2-90a490eb4fc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BE1E1"/>
    <a:srgbClr val="FF8759"/>
    <a:srgbClr val="BCEFBE"/>
    <a:srgbClr val="9ED08B"/>
    <a:srgbClr val="FF6B33"/>
    <a:srgbClr val="B6F1A3"/>
    <a:srgbClr val="FE5000"/>
    <a:srgbClr val="E3B5D9"/>
    <a:srgbClr val="F5F7FC"/>
    <a:srgbClr val="D83B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306799F8-075E-4A3A-A7F6-7FBC6576F1A4}" styleName="Themed Style 2 - Accent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7CE84F3-28C3-443E-9E96-99CF82512B78}" styleName="Dark Style 1 - Accent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D03447BB-5D67-496B-8E87-E561075AD55C}" styleName="Dark Style 1 - Accent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364" autoAdjust="0"/>
    <p:restoredTop sz="95781"/>
  </p:normalViewPr>
  <p:slideViewPr>
    <p:cSldViewPr snapToGrid="0">
      <p:cViewPr varScale="1">
        <p:scale>
          <a:sx n="88" d="100"/>
          <a:sy n="88" d="100"/>
        </p:scale>
        <p:origin x="176" y="560"/>
      </p:cViewPr>
      <p:guideLst/>
    </p:cSldViewPr>
  </p:slideViewPr>
  <p:outlineViewPr>
    <p:cViewPr>
      <p:scale>
        <a:sx n="60" d="100"/>
        <a:sy n="60" d="100"/>
      </p:scale>
      <p:origin x="-8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>
        <p:scale>
          <a:sx n="1" d="2"/>
          <a:sy n="1" d="2"/>
        </p:scale>
        <p:origin x="4680" y="113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commentAuthors" Target="commentAuthor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tags" Target="tags/tag1.xml"/><Relationship Id="rId30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CA2D38D-4F72-B941-81F4-83BED0C8DC92}" type="datetimeFigureOut">
              <a:rPr lang="en-US" smtClean="0"/>
              <a:t>7/15/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46EE349-B348-7544-9FFB-DE3C7BC261D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444929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4083934-CEC7-004E-981B-C90106CE648B}" type="datetimeFigureOut">
              <a:rPr lang="en-US" smtClean="0"/>
              <a:t>7/15/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9D4D1F2-5493-664C-9A78-84762AA9E20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91878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D4D1F2-5493-664C-9A78-84762AA9E207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104616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D4D1F2-5493-664C-9A78-84762AA9E207}" type="slidenum">
              <a:rPr lang="en-US" smtClean="0"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81306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7D3926-DD8F-2057-9B0C-B82C8A62B2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427A0A2-48B0-CCC8-8E35-27B881F4ABD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241280" y="6287935"/>
            <a:ext cx="1625466" cy="365125"/>
          </a:xfrm>
        </p:spPr>
        <p:txBody>
          <a:bodyPr/>
          <a:lstStyle/>
          <a:p>
            <a:r>
              <a:rPr lang="en-US" dirty="0">
                <a:latin typeface="Helvetica" pitchFamily="2" charset="0"/>
              </a:rPr>
              <a:t> Alberto Lumbreras </a:t>
            </a:r>
            <a:r>
              <a:rPr lang="en-US" dirty="0"/>
              <a:t>| </a:t>
            </a:r>
            <a:fld id="{3633D75A-BE2D-484B-925B-BF3693E8768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AF89BFC-D3BE-1FFB-20BB-E2585789EAA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1499" y="1177291"/>
            <a:ext cx="10736263" cy="403225"/>
          </a:xfrm>
        </p:spPr>
        <p:txBody>
          <a:bodyPr anchor="ctr"/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290732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-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57CC0B40-4A36-2CE4-D530-D0D546150D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8700" y="2853458"/>
            <a:ext cx="7792937" cy="1151084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algn="l">
              <a:lnSpc>
                <a:spcPct val="85000"/>
              </a:lnSpc>
              <a:defRPr sz="4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divider slide headline</a:t>
            </a:r>
          </a:p>
        </p:txBody>
      </p:sp>
    </p:spTree>
    <p:extLst>
      <p:ext uri="{BB962C8B-B14F-4D97-AF65-F5344CB8AC3E}">
        <p14:creationId xmlns:p14="http://schemas.microsoft.com/office/powerpoint/2010/main" val="356995143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-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val 2">
            <a:extLst>
              <a:ext uri="{FF2B5EF4-FFF2-40B4-BE49-F238E27FC236}">
                <a16:creationId xmlns:a16="http://schemas.microsoft.com/office/drawing/2014/main" id="{E9B1C80B-AC57-2146-B025-507EBFF7A0A9}"/>
              </a:ext>
            </a:extLst>
          </p:cNvPr>
          <p:cNvSpPr/>
          <p:nvPr userDrawn="1"/>
        </p:nvSpPr>
        <p:spPr>
          <a:xfrm>
            <a:off x="-2093871" y="-2528040"/>
            <a:ext cx="11172092" cy="11172092"/>
          </a:xfrm>
          <a:prstGeom prst="ellipse">
            <a:avLst/>
          </a:prstGeom>
          <a:solidFill>
            <a:schemeClr val="bg1">
              <a:alpha val="4000"/>
            </a:schemeClr>
          </a:solidFill>
          <a:ln w="25400">
            <a:solidFill>
              <a:schemeClr val="tx2"/>
            </a:solidFill>
          </a:ln>
          <a:effectLst>
            <a:outerShdw blurRad="1066800" sx="102000" sy="102000" algn="ctr" rotWithShape="0">
              <a:prstClr val="black">
                <a:alpha val="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F69FD426-F029-032A-FFBE-E9110DC6D7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8700" y="2853458"/>
            <a:ext cx="5606949" cy="1151084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algn="l">
              <a:lnSpc>
                <a:spcPct val="85000"/>
              </a:lnSpc>
              <a:defRPr sz="4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divider slide headline</a:t>
            </a:r>
          </a:p>
        </p:txBody>
      </p:sp>
    </p:spTree>
    <p:extLst>
      <p:ext uri="{BB962C8B-B14F-4D97-AF65-F5344CB8AC3E}">
        <p14:creationId xmlns:p14="http://schemas.microsoft.com/office/powerpoint/2010/main" val="375364647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2_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EE6A979-FE4A-4C10-89A2-DF4E3F28906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8701" y="1821071"/>
            <a:ext cx="4748322" cy="3665330"/>
          </a:xfrm>
        </p:spPr>
        <p:txBody>
          <a:bodyPr lIns="0">
            <a:normAutofit/>
          </a:bodyPr>
          <a:lstStyle>
            <a:lvl1pPr algn="l">
              <a:defRPr sz="1400">
                <a:latin typeface="HurmeGeometricSans1 Regular" panose="020B0500020000000000" pitchFamily="34" charset="0"/>
              </a:defRPr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 dirty="0"/>
              <a:t>Click to add body text</a:t>
            </a:r>
            <a:endParaRPr lang="en-GB" dirty="0"/>
          </a:p>
        </p:txBody>
      </p:sp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7002E748-4569-48C4-91B7-B240276218F9}"/>
              </a:ext>
            </a:extLst>
          </p:cNvPr>
          <p:cNvSpPr txBox="1">
            <a:spLocks/>
          </p:cNvSpPr>
          <p:nvPr userDrawn="1"/>
        </p:nvSpPr>
        <p:spPr>
          <a:xfrm>
            <a:off x="186072" y="6214538"/>
            <a:ext cx="7560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en-US"/>
            </a:defPPr>
            <a:lvl1pPr marL="0" algn="r" defTabSz="685783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892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5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8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2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en-US" sz="1000" b="0" i="0" dirty="0">
              <a:solidFill>
                <a:schemeClr val="tx1"/>
              </a:solidFill>
              <a:latin typeface="HurmeGeometricSans1 Regular" panose="020B0500020000000000" pitchFamily="34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0E04F0C-F96B-D799-4CF8-C27119B1FB33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>
          <a:xfrm>
            <a:off x="376376" y="6357383"/>
            <a:ext cx="390248" cy="365125"/>
          </a:xfrm>
          <a:prstGeom prst="rect">
            <a:avLst/>
          </a:prstGeom>
        </p:spPr>
        <p:txBody>
          <a:bodyPr/>
          <a:lstStyle/>
          <a:p>
            <a:fld id="{3633D75A-BE2D-484B-925B-BF3693E8768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9248C2F9-630B-4EFD-0483-A31CDEE4AC8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414979" y="1821070"/>
            <a:ext cx="4748320" cy="3665330"/>
          </a:xfrm>
        </p:spPr>
        <p:txBody>
          <a:bodyPr lIns="0">
            <a:normAutofit/>
          </a:bodyPr>
          <a:lstStyle>
            <a:lvl1pPr algn="l">
              <a:defRPr sz="1400">
                <a:latin typeface="HurmeGeometricSans1 Regular" panose="020B0500020000000000" pitchFamily="34" charset="0"/>
              </a:defRPr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 dirty="0"/>
              <a:t>Click to add body text</a:t>
            </a:r>
            <a:endParaRPr lang="en-GB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AB1908DB-3EF0-3B33-C08E-887616847F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9775" y="571751"/>
            <a:ext cx="10133525" cy="456437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4C6308A7-360B-7F47-3751-06BE00B78A4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28701" y="1028188"/>
            <a:ext cx="10134642" cy="354045"/>
          </a:xfrm>
        </p:spPr>
        <p:txBody>
          <a:bodyPr lIns="0" tIns="0" rIns="0" bIns="0"/>
          <a:lstStyle>
            <a:lvl1pPr algn="l">
              <a:defRPr b="0">
                <a:latin typeface="HurmeGeometricSans1 Regular" panose="020B0500020000000000" pitchFamily="34" charset="0"/>
              </a:defRPr>
            </a:lvl1pPr>
            <a:lvl2pPr algn="ctr">
              <a:defRPr b="1"/>
            </a:lvl2pPr>
            <a:lvl3pPr algn="ctr">
              <a:defRPr b="1"/>
            </a:lvl3pPr>
            <a:lvl4pPr algn="ctr">
              <a:defRPr b="1"/>
            </a:lvl4pPr>
            <a:lvl5pPr algn="ctr">
              <a:defRPr b="1"/>
            </a:lvl5pPr>
          </a:lstStyle>
          <a:p>
            <a:pPr lvl="0"/>
            <a:r>
              <a:rPr lang="en-US" dirty="0"/>
              <a:t>Click to add subtitle</a:t>
            </a:r>
            <a:endParaRPr lang="en-GB" dirty="0"/>
          </a:p>
        </p:txBody>
      </p:sp>
      <p:sp>
        <p:nvSpPr>
          <p:cNvPr id="9" name="Text Placeholder 23">
            <a:extLst>
              <a:ext uri="{FF2B5EF4-FFF2-40B4-BE49-F238E27FC236}">
                <a16:creationId xmlns:a16="http://schemas.microsoft.com/office/drawing/2014/main" id="{5B364DC0-0ADA-2831-28BE-D8EF3CCF419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28701" y="5737860"/>
            <a:ext cx="10134599" cy="280800"/>
          </a:xfrm>
        </p:spPr>
        <p:txBody>
          <a:bodyPr anchor="ctr">
            <a:normAutofit/>
          </a:bodyPr>
          <a:lstStyle>
            <a:lvl1pPr>
              <a:lnSpc>
                <a:spcPct val="120000"/>
              </a:lnSpc>
              <a:defRPr sz="1000">
                <a:solidFill>
                  <a:schemeClr val="tx1"/>
                </a:solidFill>
                <a:latin typeface="HurmeGeometricSans1 Regular" panose="020B0500020000000000" pitchFamily="34" charset="0"/>
              </a:defRPr>
            </a:lvl1pPr>
          </a:lstStyle>
          <a:p>
            <a:pPr lvl="0"/>
            <a:r>
              <a:rPr lang="en-US" dirty="0"/>
              <a:t>Source: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29514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ph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EE6A979-FE4A-4C10-89A2-DF4E3F28906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8701" y="1821071"/>
            <a:ext cx="4748322" cy="3665330"/>
          </a:xfrm>
        </p:spPr>
        <p:txBody>
          <a:bodyPr lIns="0">
            <a:normAutofit/>
          </a:bodyPr>
          <a:lstStyle>
            <a:lvl1pPr algn="l">
              <a:defRPr sz="1400">
                <a:latin typeface="HurmeGeometricSans1 Regular" panose="020B0500020000000000" pitchFamily="34" charset="0"/>
              </a:defRPr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 dirty="0"/>
              <a:t>Click to add body text</a:t>
            </a:r>
            <a:endParaRPr lang="en-GB" dirty="0"/>
          </a:p>
        </p:txBody>
      </p:sp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7002E748-4569-48C4-91B7-B240276218F9}"/>
              </a:ext>
            </a:extLst>
          </p:cNvPr>
          <p:cNvSpPr txBox="1">
            <a:spLocks/>
          </p:cNvSpPr>
          <p:nvPr userDrawn="1"/>
        </p:nvSpPr>
        <p:spPr>
          <a:xfrm>
            <a:off x="186072" y="6214538"/>
            <a:ext cx="7560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en-US"/>
            </a:defPPr>
            <a:lvl1pPr marL="0" algn="r" defTabSz="685783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892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5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8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2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en-US" sz="1000" b="0" i="0" dirty="0">
              <a:solidFill>
                <a:schemeClr val="tx1"/>
              </a:solidFill>
              <a:latin typeface="HurmeGeometricSans1 Regular" panose="020B0500020000000000" pitchFamily="34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0E04F0C-F96B-D799-4CF8-C27119B1FB33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>
          <a:xfrm>
            <a:off x="376376" y="6357383"/>
            <a:ext cx="390248" cy="365125"/>
          </a:xfrm>
          <a:prstGeom prst="rect">
            <a:avLst/>
          </a:prstGeom>
        </p:spPr>
        <p:txBody>
          <a:bodyPr/>
          <a:lstStyle/>
          <a:p>
            <a:fld id="{3633D75A-BE2D-484B-925B-BF3693E8768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AB1908DB-3EF0-3B33-C08E-887616847F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9776" y="571751"/>
            <a:ext cx="6445846" cy="456437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4C6308A7-360B-7F47-3751-06BE00B78A4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28701" y="1028188"/>
            <a:ext cx="6446557" cy="354045"/>
          </a:xfrm>
        </p:spPr>
        <p:txBody>
          <a:bodyPr lIns="0" tIns="0" rIns="0" bIns="0"/>
          <a:lstStyle>
            <a:lvl1pPr algn="l">
              <a:defRPr b="0">
                <a:latin typeface="HurmeGeometricSans1 Regular" panose="020B0500020000000000" pitchFamily="34" charset="0"/>
              </a:defRPr>
            </a:lvl1pPr>
            <a:lvl2pPr algn="ctr">
              <a:defRPr b="1"/>
            </a:lvl2pPr>
            <a:lvl3pPr algn="ctr">
              <a:defRPr b="1"/>
            </a:lvl3pPr>
            <a:lvl4pPr algn="ctr">
              <a:defRPr b="1"/>
            </a:lvl4pPr>
            <a:lvl5pPr algn="ctr">
              <a:defRPr b="1"/>
            </a:lvl5pPr>
          </a:lstStyle>
          <a:p>
            <a:pPr lvl="0"/>
            <a:r>
              <a:rPr lang="en-US" dirty="0"/>
              <a:t>Click to add subtitle</a:t>
            </a:r>
            <a:endParaRPr lang="en-GB" dirty="0"/>
          </a:p>
        </p:txBody>
      </p:sp>
      <p:sp>
        <p:nvSpPr>
          <p:cNvPr id="9" name="Text Placeholder 23">
            <a:extLst>
              <a:ext uri="{FF2B5EF4-FFF2-40B4-BE49-F238E27FC236}">
                <a16:creationId xmlns:a16="http://schemas.microsoft.com/office/drawing/2014/main" id="{5B364DC0-0ADA-2831-28BE-D8EF3CCF419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28701" y="5737860"/>
            <a:ext cx="10134599" cy="280800"/>
          </a:xfrm>
        </p:spPr>
        <p:txBody>
          <a:bodyPr anchor="ctr">
            <a:normAutofit/>
          </a:bodyPr>
          <a:lstStyle>
            <a:lvl1pPr>
              <a:lnSpc>
                <a:spcPct val="120000"/>
              </a:lnSpc>
              <a:defRPr sz="1000">
                <a:solidFill>
                  <a:schemeClr val="tx1"/>
                </a:solidFill>
                <a:latin typeface="HurmeGeometricSans1 Regular" panose="020B0500020000000000" pitchFamily="34" charset="0"/>
              </a:defRPr>
            </a:lvl1pPr>
          </a:lstStyle>
          <a:p>
            <a:pPr lvl="0"/>
            <a:r>
              <a:rPr lang="en-US" dirty="0"/>
              <a:t>Source:</a:t>
            </a:r>
            <a:endParaRPr lang="en-GB" dirty="0"/>
          </a:p>
        </p:txBody>
      </p:sp>
      <p:pic>
        <p:nvPicPr>
          <p:cNvPr id="3" name="Picture 2" descr="Shape&#10;&#10;Description automatically generated">
            <a:extLst>
              <a:ext uri="{FF2B5EF4-FFF2-40B4-BE49-F238E27FC236}">
                <a16:creationId xmlns:a16="http://schemas.microsoft.com/office/drawing/2014/main" id="{689FDD55-3114-8E72-2FA7-2AEC8AE93EA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73855" y="715877"/>
            <a:ext cx="2977807" cy="5692516"/>
          </a:xfrm>
          <a:prstGeom prst="rect">
            <a:avLst/>
          </a:prstGeom>
        </p:spPr>
      </p:pic>
      <p:sp>
        <p:nvSpPr>
          <p:cNvPr id="4" name="Picture Placeholder 4">
            <a:extLst>
              <a:ext uri="{FF2B5EF4-FFF2-40B4-BE49-F238E27FC236}">
                <a16:creationId xmlns:a16="http://schemas.microsoft.com/office/drawing/2014/main" id="{30CFD38E-88E5-F80D-2DDE-5387D105767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720181" y="1009498"/>
            <a:ext cx="2300400" cy="5022000"/>
          </a:xfrm>
          <a:prstGeom prst="roundRect">
            <a:avLst>
              <a:gd name="adj" fmla="val 9226"/>
            </a:avLst>
          </a:prstGeom>
          <a:solidFill>
            <a:schemeClr val="bg1"/>
          </a:solidFill>
        </p:spPr>
        <p:txBody>
          <a:bodyPr anchor="ctr"/>
          <a:lstStyle>
            <a:lvl1pPr algn="ctr">
              <a:defRPr>
                <a:latin typeface="HurmeGeometricSans1 Regular" panose="020B0500020000000000" pitchFamily="34" charset="0"/>
              </a:defRPr>
            </a:lvl1pPr>
          </a:lstStyle>
          <a:p>
            <a:r>
              <a:rPr lang="en-US" dirty="0"/>
              <a:t>Screenshot Goes Here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120988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tab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EE6A979-FE4A-4C10-89A2-DF4E3F28906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8701" y="1821071"/>
            <a:ext cx="4748322" cy="3665330"/>
          </a:xfrm>
        </p:spPr>
        <p:txBody>
          <a:bodyPr lIns="0">
            <a:normAutofit/>
          </a:bodyPr>
          <a:lstStyle>
            <a:lvl1pPr algn="l">
              <a:defRPr sz="1400">
                <a:latin typeface="HurmeGeometricSans1 Regular" panose="020B0500020000000000" pitchFamily="34" charset="0"/>
              </a:defRPr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 dirty="0"/>
              <a:t>Click to add body text</a:t>
            </a:r>
            <a:endParaRPr lang="en-GB" dirty="0"/>
          </a:p>
        </p:txBody>
      </p:sp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7002E748-4569-48C4-91B7-B240276218F9}"/>
              </a:ext>
            </a:extLst>
          </p:cNvPr>
          <p:cNvSpPr txBox="1">
            <a:spLocks/>
          </p:cNvSpPr>
          <p:nvPr userDrawn="1"/>
        </p:nvSpPr>
        <p:spPr>
          <a:xfrm>
            <a:off x="186072" y="6214538"/>
            <a:ext cx="7560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en-US"/>
            </a:defPPr>
            <a:lvl1pPr marL="0" algn="r" defTabSz="685783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892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5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8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2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en-US" sz="1000" b="0" i="0" dirty="0">
              <a:solidFill>
                <a:schemeClr val="tx1"/>
              </a:solidFill>
              <a:latin typeface="HurmeGeometricSans1 Regular" panose="020B0500020000000000" pitchFamily="34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0E04F0C-F96B-D799-4CF8-C27119B1FB33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>
          <a:xfrm>
            <a:off x="376376" y="6357383"/>
            <a:ext cx="390248" cy="365125"/>
          </a:xfrm>
          <a:prstGeom prst="rect">
            <a:avLst/>
          </a:prstGeom>
        </p:spPr>
        <p:txBody>
          <a:bodyPr/>
          <a:lstStyle/>
          <a:p>
            <a:fld id="{3633D75A-BE2D-484B-925B-BF3693E8768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AB1908DB-3EF0-3B33-C08E-887616847F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9776" y="571751"/>
            <a:ext cx="6445846" cy="456437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4C6308A7-360B-7F47-3751-06BE00B78A4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28701" y="1028188"/>
            <a:ext cx="6446557" cy="354045"/>
          </a:xfrm>
        </p:spPr>
        <p:txBody>
          <a:bodyPr lIns="0" tIns="0" rIns="0" bIns="0"/>
          <a:lstStyle>
            <a:lvl1pPr algn="l">
              <a:defRPr b="0">
                <a:latin typeface="HurmeGeometricSans1 Regular" panose="020B0500020000000000" pitchFamily="34" charset="0"/>
              </a:defRPr>
            </a:lvl1pPr>
            <a:lvl2pPr algn="ctr">
              <a:defRPr b="1"/>
            </a:lvl2pPr>
            <a:lvl3pPr algn="ctr">
              <a:defRPr b="1"/>
            </a:lvl3pPr>
            <a:lvl4pPr algn="ctr">
              <a:defRPr b="1"/>
            </a:lvl4pPr>
            <a:lvl5pPr algn="ctr">
              <a:defRPr b="1"/>
            </a:lvl5pPr>
          </a:lstStyle>
          <a:p>
            <a:pPr lvl="0"/>
            <a:r>
              <a:rPr lang="en-US" dirty="0"/>
              <a:t>Click to add subtitle</a:t>
            </a:r>
            <a:endParaRPr lang="en-GB" dirty="0"/>
          </a:p>
        </p:txBody>
      </p:sp>
      <p:sp>
        <p:nvSpPr>
          <p:cNvPr id="9" name="Text Placeholder 23">
            <a:extLst>
              <a:ext uri="{FF2B5EF4-FFF2-40B4-BE49-F238E27FC236}">
                <a16:creationId xmlns:a16="http://schemas.microsoft.com/office/drawing/2014/main" id="{5B364DC0-0ADA-2831-28BE-D8EF3CCF419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28701" y="5737860"/>
            <a:ext cx="10134599" cy="280800"/>
          </a:xfrm>
        </p:spPr>
        <p:txBody>
          <a:bodyPr anchor="ctr">
            <a:normAutofit/>
          </a:bodyPr>
          <a:lstStyle>
            <a:lvl1pPr>
              <a:lnSpc>
                <a:spcPct val="120000"/>
              </a:lnSpc>
              <a:defRPr sz="1000">
                <a:solidFill>
                  <a:schemeClr val="tx1"/>
                </a:solidFill>
                <a:latin typeface="HurmeGeometricSans1 Regular" panose="020B0500020000000000" pitchFamily="34" charset="0"/>
              </a:defRPr>
            </a:lvl1pPr>
          </a:lstStyle>
          <a:p>
            <a:pPr lvl="0"/>
            <a:r>
              <a:rPr lang="en-US" dirty="0"/>
              <a:t>Source:</a:t>
            </a:r>
            <a:endParaRPr lang="en-GB" dirty="0"/>
          </a:p>
        </p:txBody>
      </p:sp>
      <p:pic>
        <p:nvPicPr>
          <p:cNvPr id="5" name="Picture 4" descr="Shape, square&#10;&#10;Description automatically generated">
            <a:extLst>
              <a:ext uri="{FF2B5EF4-FFF2-40B4-BE49-F238E27FC236}">
                <a16:creationId xmlns:a16="http://schemas.microsoft.com/office/drawing/2014/main" id="{42E21A1E-D6E4-614E-CE86-08E83925EC9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48660" y="580449"/>
            <a:ext cx="4120117" cy="5652000"/>
          </a:xfrm>
          <a:prstGeom prst="rect">
            <a:avLst/>
          </a:prstGeom>
        </p:spPr>
      </p:pic>
      <p:sp>
        <p:nvSpPr>
          <p:cNvPr id="6" name="Picture Placeholder 4">
            <a:extLst>
              <a:ext uri="{FF2B5EF4-FFF2-40B4-BE49-F238E27FC236}">
                <a16:creationId xmlns:a16="http://schemas.microsoft.com/office/drawing/2014/main" id="{10CA6444-D25F-E2F0-77CC-F748851236F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612398" y="1243764"/>
            <a:ext cx="3186000" cy="4266000"/>
          </a:xfrm>
          <a:prstGeom prst="roundRect">
            <a:avLst>
              <a:gd name="adj" fmla="val 206"/>
            </a:avLst>
          </a:prstGeom>
          <a:solidFill>
            <a:schemeClr val="bg1"/>
          </a:solidFill>
        </p:spPr>
        <p:txBody>
          <a:bodyPr anchor="ctr"/>
          <a:lstStyle>
            <a:lvl1pPr algn="ctr">
              <a:defRPr>
                <a:latin typeface="HurmeGeometricSans1 Regular" panose="020B0500020000000000" pitchFamily="34" charset="0"/>
              </a:defRPr>
            </a:lvl1pPr>
          </a:lstStyle>
          <a:p>
            <a:r>
              <a:rPr lang="en-US" dirty="0"/>
              <a:t>Screenshot Goes Here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752309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brow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EE6A979-FE4A-4C10-89A2-DF4E3F28906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8701" y="1821071"/>
            <a:ext cx="3848099" cy="3665330"/>
          </a:xfrm>
        </p:spPr>
        <p:txBody>
          <a:bodyPr lIns="0">
            <a:normAutofit/>
          </a:bodyPr>
          <a:lstStyle>
            <a:lvl1pPr algn="l">
              <a:defRPr sz="1400">
                <a:latin typeface="HurmeGeometricSans1 Regular" panose="020B0500020000000000" pitchFamily="34" charset="0"/>
              </a:defRPr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 dirty="0"/>
              <a:t>Click to add body text</a:t>
            </a:r>
            <a:endParaRPr lang="en-GB" dirty="0"/>
          </a:p>
        </p:txBody>
      </p:sp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7002E748-4569-48C4-91B7-B240276218F9}"/>
              </a:ext>
            </a:extLst>
          </p:cNvPr>
          <p:cNvSpPr txBox="1">
            <a:spLocks/>
          </p:cNvSpPr>
          <p:nvPr userDrawn="1"/>
        </p:nvSpPr>
        <p:spPr>
          <a:xfrm>
            <a:off x="186072" y="6214538"/>
            <a:ext cx="7560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en-US"/>
            </a:defPPr>
            <a:lvl1pPr marL="0" algn="r" defTabSz="685783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892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5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8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2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en-US" sz="1000" b="0" i="0" dirty="0">
              <a:solidFill>
                <a:schemeClr val="tx1"/>
              </a:solidFill>
              <a:latin typeface="HurmeGeometricSans1 Regular" panose="020B0500020000000000" pitchFamily="34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0E04F0C-F96B-D799-4CF8-C27119B1FB33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>
          <a:xfrm>
            <a:off x="376376" y="6357383"/>
            <a:ext cx="390248" cy="365125"/>
          </a:xfrm>
          <a:prstGeom prst="rect">
            <a:avLst/>
          </a:prstGeom>
        </p:spPr>
        <p:txBody>
          <a:bodyPr/>
          <a:lstStyle/>
          <a:p>
            <a:fld id="{3633D75A-BE2D-484B-925B-BF3693E8768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AB1908DB-3EF0-3B33-C08E-887616847F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9776" y="571751"/>
            <a:ext cx="6445846" cy="456437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4C6308A7-360B-7F47-3751-06BE00B78A4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28701" y="1028188"/>
            <a:ext cx="6446557" cy="354045"/>
          </a:xfrm>
        </p:spPr>
        <p:txBody>
          <a:bodyPr lIns="0" tIns="0" rIns="0" bIns="0"/>
          <a:lstStyle>
            <a:lvl1pPr algn="l">
              <a:defRPr b="0">
                <a:latin typeface="HurmeGeometricSans1 Regular" panose="020B0500020000000000" pitchFamily="34" charset="0"/>
              </a:defRPr>
            </a:lvl1pPr>
            <a:lvl2pPr algn="ctr">
              <a:defRPr b="1"/>
            </a:lvl2pPr>
            <a:lvl3pPr algn="ctr">
              <a:defRPr b="1"/>
            </a:lvl3pPr>
            <a:lvl4pPr algn="ctr">
              <a:defRPr b="1"/>
            </a:lvl4pPr>
            <a:lvl5pPr algn="ctr">
              <a:defRPr b="1"/>
            </a:lvl5pPr>
          </a:lstStyle>
          <a:p>
            <a:pPr lvl="0"/>
            <a:r>
              <a:rPr lang="en-US" dirty="0"/>
              <a:t>Click to add subtitle</a:t>
            </a:r>
            <a:endParaRPr lang="en-GB" dirty="0"/>
          </a:p>
        </p:txBody>
      </p:sp>
      <p:sp>
        <p:nvSpPr>
          <p:cNvPr id="9" name="Text Placeholder 23">
            <a:extLst>
              <a:ext uri="{FF2B5EF4-FFF2-40B4-BE49-F238E27FC236}">
                <a16:creationId xmlns:a16="http://schemas.microsoft.com/office/drawing/2014/main" id="{5B364DC0-0ADA-2831-28BE-D8EF3CCF419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28701" y="5737860"/>
            <a:ext cx="10134599" cy="280800"/>
          </a:xfrm>
        </p:spPr>
        <p:txBody>
          <a:bodyPr anchor="ctr">
            <a:normAutofit/>
          </a:bodyPr>
          <a:lstStyle>
            <a:lvl1pPr>
              <a:lnSpc>
                <a:spcPct val="120000"/>
              </a:lnSpc>
              <a:defRPr sz="1000">
                <a:solidFill>
                  <a:schemeClr val="tx1"/>
                </a:solidFill>
                <a:latin typeface="HurmeGeometricSans1 Regular" panose="020B0500020000000000" pitchFamily="34" charset="0"/>
              </a:defRPr>
            </a:lvl1pPr>
          </a:lstStyle>
          <a:p>
            <a:pPr lvl="0"/>
            <a:r>
              <a:rPr lang="en-US" dirty="0"/>
              <a:t>Source:</a:t>
            </a:r>
            <a:endParaRPr lang="en-GB" dirty="0"/>
          </a:p>
        </p:txBody>
      </p:sp>
      <p:sp>
        <p:nvSpPr>
          <p:cNvPr id="3" name="Rectangle: Top Corners Rounded 27">
            <a:extLst>
              <a:ext uri="{FF2B5EF4-FFF2-40B4-BE49-F238E27FC236}">
                <a16:creationId xmlns:a16="http://schemas.microsoft.com/office/drawing/2014/main" id="{12DC253B-4F91-0C80-E182-78AC7A6699A8}"/>
              </a:ext>
            </a:extLst>
          </p:cNvPr>
          <p:cNvSpPr/>
          <p:nvPr userDrawn="1"/>
        </p:nvSpPr>
        <p:spPr>
          <a:xfrm>
            <a:off x="5036220" y="1991421"/>
            <a:ext cx="6570916" cy="3692106"/>
          </a:xfrm>
          <a:prstGeom prst="round2SameRect">
            <a:avLst>
              <a:gd name="adj1" fmla="val 0"/>
              <a:gd name="adj2" fmla="val 3852"/>
            </a:avLst>
          </a:prstGeom>
          <a:noFill/>
          <a:ln w="57150">
            <a:solidFill>
              <a:srgbClr val="EFF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4" name="Rectangle: Top Corners Rounded 32">
            <a:extLst>
              <a:ext uri="{FF2B5EF4-FFF2-40B4-BE49-F238E27FC236}">
                <a16:creationId xmlns:a16="http://schemas.microsoft.com/office/drawing/2014/main" id="{D62A851D-7D7A-8A8B-9568-993F9F65A4E6}"/>
              </a:ext>
            </a:extLst>
          </p:cNvPr>
          <p:cNvSpPr/>
          <p:nvPr userDrawn="1"/>
        </p:nvSpPr>
        <p:spPr>
          <a:xfrm flipV="1">
            <a:off x="5036220" y="1633645"/>
            <a:ext cx="6570916" cy="357776"/>
          </a:xfrm>
          <a:prstGeom prst="round2SameRect">
            <a:avLst>
              <a:gd name="adj1" fmla="val 0"/>
              <a:gd name="adj2" fmla="val 46449"/>
            </a:avLst>
          </a:prstGeom>
          <a:solidFill>
            <a:srgbClr val="EFF0F0"/>
          </a:solidFill>
          <a:ln w="57150">
            <a:solidFill>
              <a:srgbClr val="EFF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1DF8C3EB-BE7C-03C6-D761-12C4859A53B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060246" y="2018706"/>
            <a:ext cx="6516000" cy="3646686"/>
          </a:xfrm>
          <a:prstGeom prst="round2SameRect">
            <a:avLst>
              <a:gd name="adj1" fmla="val 0"/>
              <a:gd name="adj2" fmla="val 4179"/>
            </a:avLst>
          </a:prstGeom>
          <a:solidFill>
            <a:schemeClr val="bg1"/>
          </a:solidFill>
        </p:spPr>
        <p:txBody>
          <a:bodyPr anchor="ctr"/>
          <a:lstStyle>
            <a:lvl1pPr algn="ctr">
              <a:defRPr>
                <a:latin typeface="HurmeGeometricSans1 Regular" panose="020B0500020000000000" pitchFamily="34" charset="0"/>
              </a:defRPr>
            </a:lvl1pPr>
          </a:lstStyle>
          <a:p>
            <a:r>
              <a:rPr lang="en-US" dirty="0"/>
              <a:t>Screenshot Goes Here</a:t>
            </a:r>
          </a:p>
          <a:p>
            <a:endParaRPr lang="en-US" dirty="0"/>
          </a:p>
          <a:p>
            <a:endParaRPr lang="en-US" dirty="0"/>
          </a:p>
        </p:txBody>
      </p:sp>
      <p:grpSp>
        <p:nvGrpSpPr>
          <p:cNvPr id="10" name="Graphic 3">
            <a:extLst>
              <a:ext uri="{FF2B5EF4-FFF2-40B4-BE49-F238E27FC236}">
                <a16:creationId xmlns:a16="http://schemas.microsoft.com/office/drawing/2014/main" id="{89BACB0F-2721-6EBD-F0B1-889529C35973}"/>
              </a:ext>
            </a:extLst>
          </p:cNvPr>
          <p:cNvGrpSpPr/>
          <p:nvPr userDrawn="1"/>
        </p:nvGrpSpPr>
        <p:grpSpPr>
          <a:xfrm>
            <a:off x="5203790" y="1733693"/>
            <a:ext cx="6220769" cy="158602"/>
            <a:chOff x="814599" y="169497"/>
            <a:chExt cx="10538939" cy="268696"/>
          </a:xfrm>
          <a:solidFill>
            <a:srgbClr val="FFFFFF"/>
          </a:solidFill>
        </p:grpSpPr>
        <p:sp>
          <p:nvSpPr>
            <p:cNvPr id="11" name="Graphic 3">
              <a:extLst>
                <a:ext uri="{FF2B5EF4-FFF2-40B4-BE49-F238E27FC236}">
                  <a16:creationId xmlns:a16="http://schemas.microsoft.com/office/drawing/2014/main" id="{09079BA9-DF89-849C-5F37-2199E29060EE}"/>
                </a:ext>
              </a:extLst>
            </p:cNvPr>
            <p:cNvSpPr/>
            <p:nvPr/>
          </p:nvSpPr>
          <p:spPr>
            <a:xfrm>
              <a:off x="1478175" y="169497"/>
              <a:ext cx="9875363" cy="268696"/>
            </a:xfrm>
            <a:custGeom>
              <a:avLst/>
              <a:gdLst>
                <a:gd name="connsiteX0" fmla="*/ 9776946 w 9875363"/>
                <a:gd name="connsiteY0" fmla="*/ 268696 h 268696"/>
                <a:gd name="connsiteX1" fmla="*/ 98418 w 9875363"/>
                <a:gd name="connsiteY1" fmla="*/ 268696 h 268696"/>
                <a:gd name="connsiteX2" fmla="*/ 0 w 9875363"/>
                <a:gd name="connsiteY2" fmla="*/ 170278 h 268696"/>
                <a:gd name="connsiteX3" fmla="*/ 0 w 9875363"/>
                <a:gd name="connsiteY3" fmla="*/ 98418 h 268696"/>
                <a:gd name="connsiteX4" fmla="*/ 98418 w 9875363"/>
                <a:gd name="connsiteY4" fmla="*/ 0 h 268696"/>
                <a:gd name="connsiteX5" fmla="*/ 9776946 w 9875363"/>
                <a:gd name="connsiteY5" fmla="*/ 0 h 268696"/>
                <a:gd name="connsiteX6" fmla="*/ 9875364 w 9875363"/>
                <a:gd name="connsiteY6" fmla="*/ 98418 h 268696"/>
                <a:gd name="connsiteX7" fmla="*/ 9875364 w 9875363"/>
                <a:gd name="connsiteY7" fmla="*/ 170278 h 268696"/>
                <a:gd name="connsiteX8" fmla="*/ 9776946 w 9875363"/>
                <a:gd name="connsiteY8" fmla="*/ 268696 h 268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875363" h="268696">
                  <a:moveTo>
                    <a:pt x="9776946" y="268696"/>
                  </a:moveTo>
                  <a:lnTo>
                    <a:pt x="98418" y="268696"/>
                  </a:lnTo>
                  <a:cubicBezTo>
                    <a:pt x="44522" y="268696"/>
                    <a:pt x="0" y="224955"/>
                    <a:pt x="0" y="170278"/>
                  </a:cubicBezTo>
                  <a:lnTo>
                    <a:pt x="0" y="98418"/>
                  </a:lnTo>
                  <a:cubicBezTo>
                    <a:pt x="0" y="44522"/>
                    <a:pt x="43741" y="0"/>
                    <a:pt x="98418" y="0"/>
                  </a:cubicBezTo>
                  <a:lnTo>
                    <a:pt x="9776946" y="0"/>
                  </a:lnTo>
                  <a:cubicBezTo>
                    <a:pt x="9830842" y="0"/>
                    <a:pt x="9875364" y="43741"/>
                    <a:pt x="9875364" y="98418"/>
                  </a:cubicBezTo>
                  <a:lnTo>
                    <a:pt x="9875364" y="170278"/>
                  </a:lnTo>
                  <a:cubicBezTo>
                    <a:pt x="9874583" y="224955"/>
                    <a:pt x="9830842" y="268696"/>
                    <a:pt x="9776946" y="268696"/>
                  </a:cubicBezTo>
                  <a:close/>
                </a:path>
              </a:pathLst>
            </a:custGeom>
            <a:solidFill>
              <a:srgbClr val="FFFFFF"/>
            </a:solidFill>
            <a:ln w="78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grpSp>
          <p:nvGrpSpPr>
            <p:cNvPr id="12" name="Graphic 3">
              <a:extLst>
                <a:ext uri="{FF2B5EF4-FFF2-40B4-BE49-F238E27FC236}">
                  <a16:creationId xmlns:a16="http://schemas.microsoft.com/office/drawing/2014/main" id="{52027CDB-0242-D600-C09F-D8F8023C7179}"/>
                </a:ext>
              </a:extLst>
            </p:cNvPr>
            <p:cNvGrpSpPr/>
            <p:nvPr/>
          </p:nvGrpSpPr>
          <p:grpSpPr>
            <a:xfrm>
              <a:off x="814599" y="216012"/>
              <a:ext cx="542002" cy="175956"/>
              <a:chOff x="814599" y="216012"/>
              <a:chExt cx="542002" cy="175956"/>
            </a:xfrm>
            <a:solidFill>
              <a:srgbClr val="FFFFFF"/>
            </a:solidFill>
          </p:grpSpPr>
          <p:sp>
            <p:nvSpPr>
              <p:cNvPr id="14" name="Graphic 3">
                <a:extLst>
                  <a:ext uri="{FF2B5EF4-FFF2-40B4-BE49-F238E27FC236}">
                    <a16:creationId xmlns:a16="http://schemas.microsoft.com/office/drawing/2014/main" id="{6C6F35AE-BE84-DFB8-4C3D-C07A60C7CDC3}"/>
                  </a:ext>
                </a:extLst>
              </p:cNvPr>
              <p:cNvSpPr/>
              <p:nvPr/>
            </p:nvSpPr>
            <p:spPr>
              <a:xfrm rot="-2700000">
                <a:off x="1207078" y="241664"/>
                <a:ext cx="123411" cy="124973"/>
              </a:xfrm>
              <a:custGeom>
                <a:avLst/>
                <a:gdLst>
                  <a:gd name="connsiteX0" fmla="*/ 123412 w 123411"/>
                  <a:gd name="connsiteY0" fmla="*/ 62487 h 124973"/>
                  <a:gd name="connsiteX1" fmla="*/ 61706 w 123411"/>
                  <a:gd name="connsiteY1" fmla="*/ 124974 h 124973"/>
                  <a:gd name="connsiteX2" fmla="*/ 0 w 123411"/>
                  <a:gd name="connsiteY2" fmla="*/ 62487 h 124973"/>
                  <a:gd name="connsiteX3" fmla="*/ 61706 w 123411"/>
                  <a:gd name="connsiteY3" fmla="*/ 0 h 124973"/>
                  <a:gd name="connsiteX4" fmla="*/ 123412 w 123411"/>
                  <a:gd name="connsiteY4" fmla="*/ 62487 h 1249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3411" h="124973">
                    <a:moveTo>
                      <a:pt x="123412" y="62487"/>
                    </a:moveTo>
                    <a:cubicBezTo>
                      <a:pt x="123412" y="96997"/>
                      <a:pt x="95785" y="124974"/>
                      <a:pt x="61706" y="124974"/>
                    </a:cubicBezTo>
                    <a:cubicBezTo>
                      <a:pt x="27627" y="124974"/>
                      <a:pt x="0" y="96997"/>
                      <a:pt x="0" y="62487"/>
                    </a:cubicBezTo>
                    <a:cubicBezTo>
                      <a:pt x="0" y="27976"/>
                      <a:pt x="27627" y="0"/>
                      <a:pt x="61706" y="0"/>
                    </a:cubicBezTo>
                    <a:cubicBezTo>
                      <a:pt x="95785" y="0"/>
                      <a:pt x="123412" y="27976"/>
                      <a:pt x="123412" y="62487"/>
                    </a:cubicBezTo>
                    <a:close/>
                  </a:path>
                </a:pathLst>
              </a:custGeom>
              <a:solidFill>
                <a:srgbClr val="FFFFFF"/>
              </a:solidFill>
              <a:ln w="78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5" name="Graphic 3">
                <a:extLst>
                  <a:ext uri="{FF2B5EF4-FFF2-40B4-BE49-F238E27FC236}">
                    <a16:creationId xmlns:a16="http://schemas.microsoft.com/office/drawing/2014/main" id="{27192A46-F6AC-256F-9B99-E0FD24359AF8}"/>
                  </a:ext>
                </a:extLst>
              </p:cNvPr>
              <p:cNvSpPr/>
              <p:nvPr/>
            </p:nvSpPr>
            <p:spPr>
              <a:xfrm rot="-2700000">
                <a:off x="1024170" y="241343"/>
                <a:ext cx="123411" cy="124973"/>
              </a:xfrm>
              <a:custGeom>
                <a:avLst/>
                <a:gdLst>
                  <a:gd name="connsiteX0" fmla="*/ 123412 w 123411"/>
                  <a:gd name="connsiteY0" fmla="*/ 62487 h 124973"/>
                  <a:gd name="connsiteX1" fmla="*/ 61706 w 123411"/>
                  <a:gd name="connsiteY1" fmla="*/ 124974 h 124973"/>
                  <a:gd name="connsiteX2" fmla="*/ 0 w 123411"/>
                  <a:gd name="connsiteY2" fmla="*/ 62487 h 124973"/>
                  <a:gd name="connsiteX3" fmla="*/ 61706 w 123411"/>
                  <a:gd name="connsiteY3" fmla="*/ 0 h 124973"/>
                  <a:gd name="connsiteX4" fmla="*/ 123412 w 123411"/>
                  <a:gd name="connsiteY4" fmla="*/ 62487 h 1249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3411" h="124973">
                    <a:moveTo>
                      <a:pt x="123412" y="62487"/>
                    </a:moveTo>
                    <a:cubicBezTo>
                      <a:pt x="123412" y="96997"/>
                      <a:pt x="95785" y="124974"/>
                      <a:pt x="61706" y="124974"/>
                    </a:cubicBezTo>
                    <a:cubicBezTo>
                      <a:pt x="27627" y="124974"/>
                      <a:pt x="0" y="96997"/>
                      <a:pt x="0" y="62487"/>
                    </a:cubicBezTo>
                    <a:cubicBezTo>
                      <a:pt x="0" y="27976"/>
                      <a:pt x="27627" y="0"/>
                      <a:pt x="61706" y="0"/>
                    </a:cubicBezTo>
                    <a:cubicBezTo>
                      <a:pt x="95785" y="0"/>
                      <a:pt x="123412" y="27976"/>
                      <a:pt x="123412" y="62487"/>
                    </a:cubicBezTo>
                    <a:close/>
                  </a:path>
                </a:pathLst>
              </a:custGeom>
              <a:solidFill>
                <a:srgbClr val="FFFFFF"/>
              </a:solidFill>
              <a:ln w="78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6" name="Graphic 3">
                <a:extLst>
                  <a:ext uri="{FF2B5EF4-FFF2-40B4-BE49-F238E27FC236}">
                    <a16:creationId xmlns:a16="http://schemas.microsoft.com/office/drawing/2014/main" id="{BCDF7BC7-A998-997D-F130-7DFB1EF962A4}"/>
                  </a:ext>
                </a:extLst>
              </p:cNvPr>
              <p:cNvSpPr/>
              <p:nvPr/>
            </p:nvSpPr>
            <p:spPr>
              <a:xfrm rot="-2700000">
                <a:off x="840711" y="241573"/>
                <a:ext cx="123411" cy="124973"/>
              </a:xfrm>
              <a:custGeom>
                <a:avLst/>
                <a:gdLst>
                  <a:gd name="connsiteX0" fmla="*/ 123412 w 123411"/>
                  <a:gd name="connsiteY0" fmla="*/ 62487 h 124973"/>
                  <a:gd name="connsiteX1" fmla="*/ 61706 w 123411"/>
                  <a:gd name="connsiteY1" fmla="*/ 124974 h 124973"/>
                  <a:gd name="connsiteX2" fmla="*/ 0 w 123411"/>
                  <a:gd name="connsiteY2" fmla="*/ 62487 h 124973"/>
                  <a:gd name="connsiteX3" fmla="*/ 61706 w 123411"/>
                  <a:gd name="connsiteY3" fmla="*/ 0 h 124973"/>
                  <a:gd name="connsiteX4" fmla="*/ 123412 w 123411"/>
                  <a:gd name="connsiteY4" fmla="*/ 62487 h 1249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3411" h="124973">
                    <a:moveTo>
                      <a:pt x="123412" y="62487"/>
                    </a:moveTo>
                    <a:cubicBezTo>
                      <a:pt x="123412" y="96997"/>
                      <a:pt x="95785" y="124974"/>
                      <a:pt x="61706" y="124974"/>
                    </a:cubicBezTo>
                    <a:cubicBezTo>
                      <a:pt x="27627" y="124974"/>
                      <a:pt x="0" y="96997"/>
                      <a:pt x="0" y="62487"/>
                    </a:cubicBezTo>
                    <a:cubicBezTo>
                      <a:pt x="0" y="27976"/>
                      <a:pt x="27627" y="0"/>
                      <a:pt x="61706" y="0"/>
                    </a:cubicBezTo>
                    <a:cubicBezTo>
                      <a:pt x="95785" y="0"/>
                      <a:pt x="123412" y="27976"/>
                      <a:pt x="123412" y="62487"/>
                    </a:cubicBezTo>
                    <a:close/>
                  </a:path>
                </a:pathLst>
              </a:custGeom>
              <a:solidFill>
                <a:srgbClr val="FFFFFF"/>
              </a:solidFill>
              <a:ln w="78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028802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BodyCopy_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FF2ABAD7-2DDF-E357-F8EA-12A9503FC162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7018338" y="-49237"/>
            <a:ext cx="5173662" cy="6297637"/>
          </a:xfrm>
          <a:custGeom>
            <a:avLst/>
            <a:gdLst>
              <a:gd name="connsiteX0" fmla="*/ 0 w 5555894"/>
              <a:gd name="connsiteY0" fmla="*/ 0 h 6858000"/>
              <a:gd name="connsiteX1" fmla="*/ 299 w 5555894"/>
              <a:gd name="connsiteY1" fmla="*/ 0 h 6858000"/>
              <a:gd name="connsiteX2" fmla="*/ 5173662 w 5555894"/>
              <a:gd name="connsiteY2" fmla="*/ 0 h 6858000"/>
              <a:gd name="connsiteX3" fmla="*/ 5555894 w 5555894"/>
              <a:gd name="connsiteY3" fmla="*/ 0 h 6858000"/>
              <a:gd name="connsiteX4" fmla="*/ 5555894 w 5555894"/>
              <a:gd name="connsiteY4" fmla="*/ 6857999 h 6858000"/>
              <a:gd name="connsiteX5" fmla="*/ 5173662 w 5555894"/>
              <a:gd name="connsiteY5" fmla="*/ 6857999 h 6858000"/>
              <a:gd name="connsiteX6" fmla="*/ 5173662 w 5555894"/>
              <a:gd name="connsiteY6" fmla="*/ 6858000 h 6858000"/>
              <a:gd name="connsiteX7" fmla="*/ 0 w 5555894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555894" h="6858000">
                <a:moveTo>
                  <a:pt x="0" y="0"/>
                </a:moveTo>
                <a:lnTo>
                  <a:pt x="299" y="0"/>
                </a:lnTo>
                <a:lnTo>
                  <a:pt x="5173662" y="0"/>
                </a:lnTo>
                <a:lnTo>
                  <a:pt x="5555894" y="0"/>
                </a:lnTo>
                <a:lnTo>
                  <a:pt x="5555894" y="6857999"/>
                </a:lnTo>
                <a:lnTo>
                  <a:pt x="5173662" y="6857999"/>
                </a:lnTo>
                <a:lnTo>
                  <a:pt x="517366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anchor="ctr" anchorCtr="1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EE6A979-FE4A-4C10-89A2-DF4E3F28906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8700" y="1838671"/>
            <a:ext cx="5528618" cy="3647729"/>
          </a:xfrm>
        </p:spPr>
        <p:txBody>
          <a:bodyPr lIns="0">
            <a:normAutofit/>
          </a:bodyPr>
          <a:lstStyle>
            <a:lvl1pPr algn="l">
              <a:defRPr sz="1400">
                <a:latin typeface="HurmeGeometricSans1 Regular" panose="020B0500020000000000" pitchFamily="34" charset="0"/>
              </a:defRPr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 dirty="0"/>
              <a:t>Click to add body text</a:t>
            </a:r>
            <a:endParaRPr lang="en-GB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020472B8-2D8B-F2A2-690C-EAC8288E0B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9775" y="571751"/>
            <a:ext cx="5555607" cy="456437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EE24E45-7775-6609-56BD-5A6E1D29144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28701" y="1028188"/>
            <a:ext cx="5556219" cy="354045"/>
          </a:xfrm>
        </p:spPr>
        <p:txBody>
          <a:bodyPr lIns="0" tIns="0" rIns="0" bIns="0"/>
          <a:lstStyle>
            <a:lvl1pPr algn="l">
              <a:defRPr b="0">
                <a:latin typeface="HurmeGeometricSans1 Regular" panose="020B0500020000000000" pitchFamily="34" charset="0"/>
              </a:defRPr>
            </a:lvl1pPr>
            <a:lvl2pPr algn="ctr">
              <a:defRPr b="1"/>
            </a:lvl2pPr>
            <a:lvl3pPr algn="ctr">
              <a:defRPr b="1"/>
            </a:lvl3pPr>
            <a:lvl4pPr algn="ctr">
              <a:defRPr b="1"/>
            </a:lvl4pPr>
            <a:lvl5pPr algn="ctr">
              <a:defRPr b="1"/>
            </a:lvl5pPr>
          </a:lstStyle>
          <a:p>
            <a:pPr lvl="0"/>
            <a:r>
              <a:rPr lang="en-US" dirty="0"/>
              <a:t>Click to add subtitle</a:t>
            </a: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769F76C-4AEA-1831-439C-4D3AB9A8EE1B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>
          <a:xfrm>
            <a:off x="376376" y="6357383"/>
            <a:ext cx="390248" cy="365125"/>
          </a:xfrm>
          <a:prstGeom prst="rect">
            <a:avLst/>
          </a:prstGeom>
        </p:spPr>
        <p:txBody>
          <a:bodyPr/>
          <a:lstStyle/>
          <a:p>
            <a:fld id="{3633D75A-BE2D-484B-925B-BF3693E8768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23">
            <a:extLst>
              <a:ext uri="{FF2B5EF4-FFF2-40B4-BE49-F238E27FC236}">
                <a16:creationId xmlns:a16="http://schemas.microsoft.com/office/drawing/2014/main" id="{8ED5688A-3278-317F-3AD7-76F4654990E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28701" y="5737860"/>
            <a:ext cx="10134599" cy="280800"/>
          </a:xfrm>
        </p:spPr>
        <p:txBody>
          <a:bodyPr anchor="ctr">
            <a:normAutofit/>
          </a:bodyPr>
          <a:lstStyle>
            <a:lvl1pPr>
              <a:lnSpc>
                <a:spcPct val="120000"/>
              </a:lnSpc>
              <a:defRPr sz="1000">
                <a:solidFill>
                  <a:schemeClr val="tx1"/>
                </a:solidFill>
                <a:latin typeface="HurmeGeometricSans1 Regular" panose="020B0500020000000000" pitchFamily="34" charset="0"/>
              </a:defRPr>
            </a:lvl1pPr>
          </a:lstStyle>
          <a:p>
            <a:pPr lvl="0"/>
            <a:r>
              <a:rPr lang="en-US" dirty="0"/>
              <a:t>Source: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417496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BulletPoints_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FF2ABAD7-2DDF-E357-F8EA-12A9503FC162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7018338" y="-43417"/>
            <a:ext cx="5173662" cy="6291817"/>
          </a:xfrm>
          <a:custGeom>
            <a:avLst/>
            <a:gdLst>
              <a:gd name="connsiteX0" fmla="*/ 0 w 5555894"/>
              <a:gd name="connsiteY0" fmla="*/ 0 h 6858000"/>
              <a:gd name="connsiteX1" fmla="*/ 299 w 5555894"/>
              <a:gd name="connsiteY1" fmla="*/ 0 h 6858000"/>
              <a:gd name="connsiteX2" fmla="*/ 5173662 w 5555894"/>
              <a:gd name="connsiteY2" fmla="*/ 0 h 6858000"/>
              <a:gd name="connsiteX3" fmla="*/ 5555894 w 5555894"/>
              <a:gd name="connsiteY3" fmla="*/ 0 h 6858000"/>
              <a:gd name="connsiteX4" fmla="*/ 5555894 w 5555894"/>
              <a:gd name="connsiteY4" fmla="*/ 6857999 h 6858000"/>
              <a:gd name="connsiteX5" fmla="*/ 5173662 w 5555894"/>
              <a:gd name="connsiteY5" fmla="*/ 6857999 h 6858000"/>
              <a:gd name="connsiteX6" fmla="*/ 5173662 w 5555894"/>
              <a:gd name="connsiteY6" fmla="*/ 6858000 h 6858000"/>
              <a:gd name="connsiteX7" fmla="*/ 0 w 5555894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555894" h="6858000">
                <a:moveTo>
                  <a:pt x="0" y="0"/>
                </a:moveTo>
                <a:lnTo>
                  <a:pt x="299" y="0"/>
                </a:lnTo>
                <a:lnTo>
                  <a:pt x="5173662" y="0"/>
                </a:lnTo>
                <a:lnTo>
                  <a:pt x="5555894" y="0"/>
                </a:lnTo>
                <a:lnTo>
                  <a:pt x="5555894" y="6857999"/>
                </a:lnTo>
                <a:lnTo>
                  <a:pt x="5173662" y="6857999"/>
                </a:lnTo>
                <a:lnTo>
                  <a:pt x="517366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anchor="ctr" anchorCtr="1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EE6A979-FE4A-4C10-89A2-DF4E3F28906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8700" y="1838671"/>
            <a:ext cx="5528618" cy="3647729"/>
          </a:xfrm>
        </p:spPr>
        <p:txBody>
          <a:bodyPr lIns="0">
            <a:normAutofit/>
          </a:bodyPr>
          <a:lstStyle>
            <a:lvl1pPr marL="285750" marR="0" indent="-285750" algn="l" defTabSz="914377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35000"/>
              <a:buFont typeface="Arial" panose="020B0604020202020204" pitchFamily="34" charset="0"/>
              <a:buChar char="•"/>
              <a:tabLst/>
              <a:defRPr sz="1400">
                <a:latin typeface="HurmeGeometricSans1 Regular" panose="020B0500020000000000" pitchFamily="34" charset="0"/>
              </a:defRPr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marL="285750" marR="0" lvl="0" indent="-285750" algn="l" defTabSz="914377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35000"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Lorem ipsum</a:t>
            </a:r>
          </a:p>
          <a:p>
            <a:pPr marL="285750" marR="0" lvl="0" indent="-285750" algn="l" defTabSz="914377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35000"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Lorem ipsum</a:t>
            </a:r>
          </a:p>
          <a:p>
            <a:pPr marL="285750" marR="0" lvl="0" indent="-285750" algn="l" defTabSz="914377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35000"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Lorem ipsum</a:t>
            </a:r>
          </a:p>
          <a:p>
            <a:pPr marL="285750" marR="0" lvl="0" indent="-285750" algn="l" defTabSz="914377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35000"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Lorem ipsum</a:t>
            </a:r>
          </a:p>
          <a:p>
            <a:pPr marL="285750" marR="0" lvl="0" indent="-285750" algn="l" defTabSz="914377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35000"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Lorem ipsum</a:t>
            </a:r>
          </a:p>
          <a:p>
            <a:pPr marL="285750" marR="0" lvl="0" indent="-285750" algn="l" defTabSz="914377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35000"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Lorem ipsum</a:t>
            </a:r>
          </a:p>
          <a:p>
            <a:pPr marL="285750" marR="0" lvl="0" indent="-285750" algn="l" defTabSz="914377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35000"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Lorem ipsum</a:t>
            </a:r>
          </a:p>
          <a:p>
            <a:pPr marL="285750" marR="0" lvl="0" indent="-285750" algn="l" defTabSz="914377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35000"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Lorem ipsum</a:t>
            </a:r>
          </a:p>
          <a:p>
            <a:pPr marL="285750" marR="0" lvl="0" indent="-285750" algn="l" defTabSz="914377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35000"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Lorem ipsum</a:t>
            </a:r>
          </a:p>
          <a:p>
            <a:pPr marL="285750" marR="0" lvl="0" indent="-285750" algn="l" defTabSz="914377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35000"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Lorem ipsum</a:t>
            </a:r>
          </a:p>
          <a:p>
            <a:pPr marL="285750" marR="0" lvl="0" indent="-285750" algn="l" defTabSz="914377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35000"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Lorem ipsum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020472B8-2D8B-F2A2-690C-EAC8288E0B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9775" y="571751"/>
            <a:ext cx="5555607" cy="456437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EE24E45-7775-6609-56BD-5A6E1D29144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28701" y="1028188"/>
            <a:ext cx="5556219" cy="354045"/>
          </a:xfrm>
        </p:spPr>
        <p:txBody>
          <a:bodyPr lIns="0" tIns="0" rIns="0" bIns="0"/>
          <a:lstStyle>
            <a:lvl1pPr algn="l">
              <a:defRPr b="0">
                <a:latin typeface="HurmeGeometricSans1 Regular" panose="020B0500020000000000" pitchFamily="34" charset="0"/>
              </a:defRPr>
            </a:lvl1pPr>
            <a:lvl2pPr algn="ctr">
              <a:defRPr b="1"/>
            </a:lvl2pPr>
            <a:lvl3pPr algn="ctr">
              <a:defRPr b="1"/>
            </a:lvl3pPr>
            <a:lvl4pPr algn="ctr">
              <a:defRPr b="1"/>
            </a:lvl4pPr>
            <a:lvl5pPr algn="ctr">
              <a:defRPr b="1"/>
            </a:lvl5pPr>
          </a:lstStyle>
          <a:p>
            <a:pPr lvl="0"/>
            <a:r>
              <a:rPr lang="en-US" dirty="0"/>
              <a:t>Click to add subtitle</a:t>
            </a: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123FBC7-D7AB-3B09-CC8B-3324C0726308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>
          <a:xfrm>
            <a:off x="376376" y="6357383"/>
            <a:ext cx="390248" cy="365125"/>
          </a:xfrm>
          <a:prstGeom prst="rect">
            <a:avLst/>
          </a:prstGeom>
        </p:spPr>
        <p:txBody>
          <a:bodyPr/>
          <a:lstStyle/>
          <a:p>
            <a:fld id="{3633D75A-BE2D-484B-925B-BF3693E8768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23">
            <a:extLst>
              <a:ext uri="{FF2B5EF4-FFF2-40B4-BE49-F238E27FC236}">
                <a16:creationId xmlns:a16="http://schemas.microsoft.com/office/drawing/2014/main" id="{26BA91DD-B96F-B345-EA92-16F8BD173A1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28701" y="5737860"/>
            <a:ext cx="10134599" cy="280800"/>
          </a:xfrm>
        </p:spPr>
        <p:txBody>
          <a:bodyPr anchor="ctr">
            <a:normAutofit/>
          </a:bodyPr>
          <a:lstStyle>
            <a:lvl1pPr>
              <a:lnSpc>
                <a:spcPct val="120000"/>
              </a:lnSpc>
              <a:defRPr sz="1000">
                <a:solidFill>
                  <a:schemeClr val="tx1"/>
                </a:solidFill>
                <a:latin typeface="HurmeGeometricSans1 Regular" panose="020B0500020000000000" pitchFamily="34" charset="0"/>
              </a:defRPr>
            </a:lvl1pPr>
          </a:lstStyle>
          <a:p>
            <a:pPr lvl="0"/>
            <a:r>
              <a:rPr lang="en-US" dirty="0"/>
              <a:t>Source: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3086164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Header_and_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4BB112-9FB1-44E5-9BFE-044CFDF08E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9775" y="571751"/>
            <a:ext cx="10134599" cy="456437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7002E748-4569-48C4-91B7-B240276218F9}"/>
              </a:ext>
            </a:extLst>
          </p:cNvPr>
          <p:cNvSpPr txBox="1">
            <a:spLocks/>
          </p:cNvSpPr>
          <p:nvPr userDrawn="1"/>
        </p:nvSpPr>
        <p:spPr>
          <a:xfrm>
            <a:off x="186072" y="6214538"/>
            <a:ext cx="7560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en-US"/>
            </a:defPPr>
            <a:lvl1pPr marL="0" algn="r" defTabSz="685783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892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5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8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2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en-US" sz="1000" b="0" i="0" dirty="0">
              <a:solidFill>
                <a:schemeClr val="tx1"/>
              </a:solidFill>
              <a:latin typeface="HurmeGeometricSans1 Regular" panose="020B0500020000000000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6B433C8-1699-3AF4-D66D-FE3A292D22FC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>
          <a:xfrm>
            <a:off x="376376" y="6357383"/>
            <a:ext cx="390248" cy="365125"/>
          </a:xfrm>
          <a:prstGeom prst="rect">
            <a:avLst/>
          </a:prstGeom>
        </p:spPr>
        <p:txBody>
          <a:bodyPr/>
          <a:lstStyle/>
          <a:p>
            <a:fld id="{3633D75A-BE2D-484B-925B-BF3693E8768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274374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you_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>
            <a:extLst>
              <a:ext uri="{FF2B5EF4-FFF2-40B4-BE49-F238E27FC236}">
                <a16:creationId xmlns:a16="http://schemas.microsoft.com/office/drawing/2014/main" id="{67D63AE6-0153-9CCE-0A16-1D5834515E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8700" y="2731122"/>
            <a:ext cx="5743575" cy="995144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lnSpc>
                <a:spcPct val="80000"/>
              </a:lnSpc>
              <a:defRPr sz="80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Thank you!</a:t>
            </a:r>
          </a:p>
        </p:txBody>
      </p:sp>
      <p:sp>
        <p:nvSpPr>
          <p:cNvPr id="20" name="Text Placeholder 12">
            <a:extLst>
              <a:ext uri="{FF2B5EF4-FFF2-40B4-BE49-F238E27FC236}">
                <a16:creationId xmlns:a16="http://schemas.microsoft.com/office/drawing/2014/main" id="{660C99AD-CDAB-D5C8-2652-9DFBC5F9B9F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28700" y="3849120"/>
            <a:ext cx="5743575" cy="817406"/>
          </a:xfrm>
        </p:spPr>
        <p:txBody>
          <a:bodyPr lIns="0" tIns="0" rIns="0" bIns="0">
            <a:normAutofit/>
          </a:bodyPr>
          <a:lstStyle>
            <a:lvl1pPr>
              <a:lnSpc>
                <a:spcPct val="82000"/>
              </a:lnSpc>
              <a:defRPr sz="2400" b="1" i="0">
                <a:latin typeface="HurmeGeometricSans1 SemiBold" panose="020B0500020000000000" pitchFamily="34" charset="77"/>
              </a:defRPr>
            </a:lvl1pPr>
          </a:lstStyle>
          <a:p>
            <a:r>
              <a:rPr lang="en-US" dirty="0"/>
              <a:t>Contact info</a:t>
            </a:r>
          </a:p>
        </p:txBody>
      </p:sp>
    </p:spTree>
    <p:extLst>
      <p:ext uri="{BB962C8B-B14F-4D97-AF65-F5344CB8AC3E}">
        <p14:creationId xmlns:p14="http://schemas.microsoft.com/office/powerpoint/2010/main" val="6270045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strech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4BB112-9FB1-44E5-9BFE-044CFDF08E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9775" y="571751"/>
            <a:ext cx="10134599" cy="456437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9415EA9-8BD7-4213-B203-42A2FB09A24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28701" y="1028188"/>
            <a:ext cx="10135716" cy="354045"/>
          </a:xfrm>
        </p:spPr>
        <p:txBody>
          <a:bodyPr lIns="0" tIns="0" rIns="0" bIns="0"/>
          <a:lstStyle>
            <a:lvl1pPr algn="l">
              <a:defRPr sz="2150" b="0">
                <a:latin typeface="HurmeGeometricSans1 Regular" panose="020B0500020000000000" pitchFamily="34" charset="0"/>
              </a:defRPr>
            </a:lvl1pPr>
            <a:lvl2pPr algn="ctr">
              <a:defRPr b="1"/>
            </a:lvl2pPr>
            <a:lvl3pPr algn="ctr">
              <a:defRPr b="1"/>
            </a:lvl3pPr>
            <a:lvl4pPr algn="ctr">
              <a:defRPr b="1"/>
            </a:lvl4pPr>
            <a:lvl5pPr algn="ctr">
              <a:defRPr b="1"/>
            </a:lvl5pPr>
          </a:lstStyle>
          <a:p>
            <a:pPr lvl="0"/>
            <a:r>
              <a:rPr lang="en-US" dirty="0"/>
              <a:t>Click to add subtitle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EE6A979-FE4A-4C10-89A2-DF4E3F28906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8701" y="1821070"/>
            <a:ext cx="10134598" cy="3665330"/>
          </a:xfrm>
        </p:spPr>
        <p:txBody>
          <a:bodyPr lIns="0">
            <a:normAutofit/>
          </a:bodyPr>
          <a:lstStyle>
            <a:lvl1pPr algn="l">
              <a:defRPr sz="1800">
                <a:latin typeface="HurmeGeometricSans1 Regular" panose="020B0500020000000000" pitchFamily="34" charset="0"/>
              </a:defRPr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 dirty="0"/>
              <a:t>Click to add body text</a:t>
            </a:r>
            <a:endParaRPr lang="en-GB" dirty="0"/>
          </a:p>
        </p:txBody>
      </p:sp>
      <p:sp>
        <p:nvSpPr>
          <p:cNvPr id="14" name="Text Placeholder 23">
            <a:extLst>
              <a:ext uri="{FF2B5EF4-FFF2-40B4-BE49-F238E27FC236}">
                <a16:creationId xmlns:a16="http://schemas.microsoft.com/office/drawing/2014/main" id="{9CA5A749-CA86-861E-1ABD-CE3B9A23CFC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28701" y="5737860"/>
            <a:ext cx="10134599" cy="280800"/>
          </a:xfrm>
        </p:spPr>
        <p:txBody>
          <a:bodyPr anchor="ctr">
            <a:normAutofit/>
          </a:bodyPr>
          <a:lstStyle>
            <a:lvl1pPr>
              <a:lnSpc>
                <a:spcPct val="120000"/>
              </a:lnSpc>
              <a:defRPr sz="1000">
                <a:solidFill>
                  <a:schemeClr val="tx1"/>
                </a:solidFill>
                <a:latin typeface="HurmeGeometricSans1 Regular" panose="020B0500020000000000" pitchFamily="34" charset="0"/>
              </a:defRPr>
            </a:lvl1pPr>
          </a:lstStyle>
          <a:p>
            <a:pPr lvl="0"/>
            <a:r>
              <a:rPr lang="en-US" dirty="0"/>
              <a:t>Source:</a:t>
            </a:r>
            <a:endParaRPr lang="en-GB" dirty="0"/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1BA69BC9-389E-37CE-EE98-9154A923A1B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265664" y="6287935"/>
            <a:ext cx="1601082" cy="365125"/>
          </a:xfrm>
        </p:spPr>
        <p:txBody>
          <a:bodyPr/>
          <a:lstStyle/>
          <a:p>
            <a:r>
              <a:rPr lang="en-US" dirty="0">
                <a:latin typeface="Helvetica" pitchFamily="2" charset="0"/>
              </a:rPr>
              <a:t> Alberto Lumbreras </a:t>
            </a:r>
            <a:r>
              <a:rPr lang="en-US" dirty="0"/>
              <a:t>| </a:t>
            </a:r>
            <a:fld id="{3633D75A-BE2D-484B-925B-BF3693E8768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831179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you_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D49AD9CD-265A-D8F6-6E98-99D313881B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8700" y="2731122"/>
            <a:ext cx="5743575" cy="995144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lnSpc>
                <a:spcPct val="80000"/>
              </a:lnSpc>
              <a:defRPr sz="80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Thank you!</a:t>
            </a:r>
          </a:p>
        </p:txBody>
      </p:sp>
      <p:sp>
        <p:nvSpPr>
          <p:cNvPr id="4" name="Text Placeholder 12">
            <a:extLst>
              <a:ext uri="{FF2B5EF4-FFF2-40B4-BE49-F238E27FC236}">
                <a16:creationId xmlns:a16="http://schemas.microsoft.com/office/drawing/2014/main" id="{BF127DED-6476-B1CE-C271-9026429F1AF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28700" y="3849120"/>
            <a:ext cx="5743575" cy="817406"/>
          </a:xfrm>
        </p:spPr>
        <p:txBody>
          <a:bodyPr lIns="0" tIns="0" rIns="0" bIns="0">
            <a:normAutofit/>
          </a:bodyPr>
          <a:lstStyle>
            <a:lvl1pPr>
              <a:lnSpc>
                <a:spcPct val="82000"/>
              </a:lnSpc>
              <a:defRPr sz="2400" b="1" i="0">
                <a:latin typeface="HurmeGeometricSans1 SemiBold" panose="020B0500020000000000" pitchFamily="34" charset="77"/>
              </a:defRPr>
            </a:lvl1pPr>
          </a:lstStyle>
          <a:p>
            <a:r>
              <a:rPr lang="en-US" dirty="0"/>
              <a:t>Contact info</a:t>
            </a:r>
          </a:p>
        </p:txBody>
      </p:sp>
    </p:spTree>
    <p:extLst>
      <p:ext uri="{BB962C8B-B14F-4D97-AF65-F5344CB8AC3E}">
        <p14:creationId xmlns:p14="http://schemas.microsoft.com/office/powerpoint/2010/main" val="135444986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you_7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CFD0DD44-5864-8EE0-93BE-5D6F092A31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8700" y="2731122"/>
            <a:ext cx="5743575" cy="995144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lnSpc>
                <a:spcPct val="80000"/>
              </a:lnSpc>
              <a:defRPr sz="8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hank you!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8F152721-2922-6D19-D29F-5314C6FA84D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28700" y="3849120"/>
            <a:ext cx="5743575" cy="817406"/>
          </a:xfrm>
        </p:spPr>
        <p:txBody>
          <a:bodyPr lIns="0" tIns="0" rIns="0" bIns="0">
            <a:normAutofit/>
          </a:bodyPr>
          <a:lstStyle>
            <a:lvl1pPr>
              <a:lnSpc>
                <a:spcPct val="82000"/>
              </a:lnSpc>
              <a:defRPr sz="2400" b="1" i="0">
                <a:solidFill>
                  <a:schemeClr val="bg1"/>
                </a:solidFill>
                <a:latin typeface="HurmeGeometricSans1 SemiBold" panose="020B0500020000000000" pitchFamily="34" charset="77"/>
              </a:defRPr>
            </a:lvl1pPr>
          </a:lstStyle>
          <a:p>
            <a:r>
              <a:rPr lang="en-US" dirty="0"/>
              <a:t>Contact info</a:t>
            </a:r>
          </a:p>
        </p:txBody>
      </p:sp>
    </p:spTree>
    <p:extLst>
      <p:ext uri="{BB962C8B-B14F-4D97-AF65-F5344CB8AC3E}">
        <p14:creationId xmlns:p14="http://schemas.microsoft.com/office/powerpoint/2010/main" val="99771517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ov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007855-DEAD-E94A-ADB1-5A88DE818D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8700" y="2389746"/>
            <a:ext cx="6855412" cy="133652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lnSpc>
                <a:spcPct val="80000"/>
              </a:lnSpc>
              <a:defRPr sz="5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here to add headline/title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AD5FBDF2-41DF-0592-5628-F9B0A10E7AA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28700" y="4199439"/>
            <a:ext cx="6855412" cy="341880"/>
          </a:xfrm>
        </p:spPr>
        <p:txBody>
          <a:bodyPr lIns="0" tIns="0" rIns="0" bIns="0">
            <a:normAutofit/>
          </a:bodyPr>
          <a:lstStyle>
            <a:lvl1pPr>
              <a:lnSpc>
                <a:spcPct val="82000"/>
              </a:lnSpc>
              <a:defRPr sz="2400" b="0" i="0">
                <a:latin typeface="HurmeGeometricSans1 Regular" panose="020B0500020000000000" pitchFamily="34" charset="77"/>
              </a:defRPr>
            </a:lvl1pPr>
          </a:lstStyle>
          <a:p>
            <a:pPr>
              <a:lnSpc>
                <a:spcPct val="100000"/>
              </a:lnSpc>
            </a:pPr>
            <a:r>
              <a:rPr lang="en-US" dirty="0"/>
              <a:t>Presenter Title</a:t>
            </a:r>
            <a:endParaRPr lang="en-US" b="0" dirty="0">
              <a:latin typeface="HurmeGeometricSans1 Regular" panose="020B0500020000000000" pitchFamily="34" charset="77"/>
            </a:endParaRP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420A13D8-D727-7460-DE20-FDA7A0E1BA5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28700" y="3857559"/>
            <a:ext cx="6845300" cy="341880"/>
          </a:xfrm>
        </p:spPr>
        <p:txBody>
          <a:bodyPr lIns="0" tIns="0" rIns="0" bIns="0">
            <a:normAutofit/>
          </a:bodyPr>
          <a:lstStyle>
            <a:lvl1pPr>
              <a:lnSpc>
                <a:spcPct val="82000"/>
              </a:lnSpc>
              <a:defRPr sz="2400" b="0" i="0">
                <a:latin typeface="HurmeGeometricSans1 SemiBold" panose="020B0500020000000000" pitchFamily="34" charset="77"/>
              </a:defRPr>
            </a:lvl1pPr>
          </a:lstStyle>
          <a:p>
            <a:pPr>
              <a:lnSpc>
                <a:spcPct val="100000"/>
              </a:lnSpc>
            </a:pPr>
            <a:r>
              <a:rPr lang="en-US" dirty="0"/>
              <a:t>Presenter Name</a:t>
            </a:r>
            <a:endParaRPr lang="en-US" b="0" dirty="0">
              <a:latin typeface="HurmeGeometricSans1 Regular" panose="020B0500020000000000" pitchFamily="34" charset="77"/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2260EE8B-B08B-2DFD-4979-17E55E61FA97}"/>
              </a:ext>
            </a:extLst>
          </p:cNvPr>
          <p:cNvSpPr/>
          <p:nvPr userDrawn="1"/>
        </p:nvSpPr>
        <p:spPr>
          <a:xfrm>
            <a:off x="-2093871" y="-2528040"/>
            <a:ext cx="11172092" cy="11172092"/>
          </a:xfrm>
          <a:prstGeom prst="ellipse">
            <a:avLst/>
          </a:prstGeom>
          <a:solidFill>
            <a:schemeClr val="bg1">
              <a:alpha val="4000"/>
            </a:schemeClr>
          </a:solidFill>
          <a:ln w="25400">
            <a:solidFill>
              <a:schemeClr val="tx2"/>
            </a:solidFill>
          </a:ln>
          <a:effectLst>
            <a:outerShdw blurRad="1066800" sx="102000" sy="102000" algn="ctr" rotWithShape="0">
              <a:prstClr val="black">
                <a:alpha val="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178557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hankyou_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D49AD9CD-265A-D8F6-6E98-99D313881B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8700" y="2731122"/>
            <a:ext cx="5743575" cy="995144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lnSpc>
                <a:spcPct val="80000"/>
              </a:lnSpc>
              <a:defRPr sz="80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Thank you!</a:t>
            </a:r>
          </a:p>
        </p:txBody>
      </p:sp>
      <p:sp>
        <p:nvSpPr>
          <p:cNvPr id="4" name="Text Placeholder 12">
            <a:extLst>
              <a:ext uri="{FF2B5EF4-FFF2-40B4-BE49-F238E27FC236}">
                <a16:creationId xmlns:a16="http://schemas.microsoft.com/office/drawing/2014/main" id="{BF127DED-6476-B1CE-C271-9026429F1AF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28700" y="3849120"/>
            <a:ext cx="5743575" cy="817406"/>
          </a:xfrm>
        </p:spPr>
        <p:txBody>
          <a:bodyPr lIns="0" tIns="0" rIns="0" bIns="0">
            <a:normAutofit/>
          </a:bodyPr>
          <a:lstStyle>
            <a:lvl1pPr>
              <a:lnSpc>
                <a:spcPct val="82000"/>
              </a:lnSpc>
              <a:defRPr sz="2400" b="1" i="0">
                <a:latin typeface="HurmeGeometricSans1 SemiBold" panose="020B0500020000000000" pitchFamily="34" charset="77"/>
              </a:defRPr>
            </a:lvl1pPr>
          </a:lstStyle>
          <a:p>
            <a:r>
              <a:rPr lang="en-US" dirty="0"/>
              <a:t>Contact info</a:t>
            </a:r>
          </a:p>
        </p:txBody>
      </p:sp>
    </p:spTree>
    <p:extLst>
      <p:ext uri="{BB962C8B-B14F-4D97-AF65-F5344CB8AC3E}">
        <p14:creationId xmlns:p14="http://schemas.microsoft.com/office/powerpoint/2010/main" val="175974202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ov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val 2">
            <a:extLst>
              <a:ext uri="{FF2B5EF4-FFF2-40B4-BE49-F238E27FC236}">
                <a16:creationId xmlns:a16="http://schemas.microsoft.com/office/drawing/2014/main" id="{E9B1C80B-AC57-2146-B025-507EBFF7A0A9}"/>
              </a:ext>
            </a:extLst>
          </p:cNvPr>
          <p:cNvSpPr/>
          <p:nvPr userDrawn="1"/>
        </p:nvSpPr>
        <p:spPr>
          <a:xfrm>
            <a:off x="-2093871" y="-2528040"/>
            <a:ext cx="11172092" cy="11172092"/>
          </a:xfrm>
          <a:prstGeom prst="ellipse">
            <a:avLst/>
          </a:prstGeom>
          <a:solidFill>
            <a:schemeClr val="bg1">
              <a:alpha val="4000"/>
            </a:schemeClr>
          </a:solidFill>
          <a:ln w="25400">
            <a:solidFill>
              <a:schemeClr val="tx2"/>
            </a:solidFill>
          </a:ln>
          <a:effectLst>
            <a:outerShdw blurRad="1066800" sx="102000" sy="102000" algn="ctr" rotWithShape="0">
              <a:prstClr val="black">
                <a:alpha val="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4007855-DEAD-E94A-ADB1-5A88DE818D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8700" y="2389746"/>
            <a:ext cx="6855412" cy="133652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lnSpc>
                <a:spcPct val="80000"/>
              </a:lnSpc>
              <a:defRPr sz="5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here to add headline/title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AD5FBDF2-41DF-0592-5628-F9B0A10E7AA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28700" y="4199439"/>
            <a:ext cx="6855412" cy="341880"/>
          </a:xfrm>
        </p:spPr>
        <p:txBody>
          <a:bodyPr lIns="0" tIns="0" rIns="0" bIns="0">
            <a:normAutofit/>
          </a:bodyPr>
          <a:lstStyle>
            <a:lvl1pPr>
              <a:lnSpc>
                <a:spcPct val="82000"/>
              </a:lnSpc>
              <a:defRPr sz="2400" b="0" i="0">
                <a:latin typeface="HurmeGeometricSans1 Regular" panose="020B0500020000000000" pitchFamily="34" charset="77"/>
              </a:defRPr>
            </a:lvl1pPr>
          </a:lstStyle>
          <a:p>
            <a:pPr>
              <a:lnSpc>
                <a:spcPct val="100000"/>
              </a:lnSpc>
            </a:pPr>
            <a:r>
              <a:rPr lang="en-US" dirty="0"/>
              <a:t>Presenter Title</a:t>
            </a:r>
            <a:endParaRPr lang="en-US" b="0" dirty="0">
              <a:latin typeface="HurmeGeometricSans1 Regular" panose="020B0500020000000000" pitchFamily="34" charset="77"/>
            </a:endParaRP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420A13D8-D727-7460-DE20-FDA7A0E1BA5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28700" y="3857559"/>
            <a:ext cx="6845300" cy="341880"/>
          </a:xfrm>
        </p:spPr>
        <p:txBody>
          <a:bodyPr lIns="0" tIns="0" rIns="0" bIns="0">
            <a:normAutofit/>
          </a:bodyPr>
          <a:lstStyle>
            <a:lvl1pPr>
              <a:lnSpc>
                <a:spcPct val="82000"/>
              </a:lnSpc>
              <a:defRPr sz="2400" b="0" i="0">
                <a:latin typeface="HurmeGeometricSans1 SemiBold" panose="020B0500020000000000" pitchFamily="34" charset="77"/>
              </a:defRPr>
            </a:lvl1pPr>
          </a:lstStyle>
          <a:p>
            <a:pPr>
              <a:lnSpc>
                <a:spcPct val="100000"/>
              </a:lnSpc>
            </a:pPr>
            <a:r>
              <a:rPr lang="en-US" dirty="0"/>
              <a:t>Presenter Name</a:t>
            </a:r>
            <a:endParaRPr lang="en-US" b="0" dirty="0">
              <a:latin typeface="HurmeGeometricSans1 Regular" panose="020B0500020000000000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07657764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ontent_Body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4BB112-9FB1-44E5-9BFE-044CFDF08E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9775" y="571751"/>
            <a:ext cx="10134599" cy="456437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9415EA9-8BD7-4213-B203-42A2FB09A24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28701" y="1028188"/>
            <a:ext cx="10135716" cy="354045"/>
          </a:xfrm>
        </p:spPr>
        <p:txBody>
          <a:bodyPr lIns="0" tIns="0" rIns="0" bIns="0"/>
          <a:lstStyle>
            <a:lvl1pPr algn="l">
              <a:defRPr b="0">
                <a:latin typeface="HurmeGeometricSans1 Regular" panose="020B0500020000000000" pitchFamily="34" charset="0"/>
              </a:defRPr>
            </a:lvl1pPr>
            <a:lvl2pPr algn="ctr">
              <a:defRPr b="1"/>
            </a:lvl2pPr>
            <a:lvl3pPr algn="ctr">
              <a:defRPr b="1"/>
            </a:lvl3pPr>
            <a:lvl4pPr algn="ctr">
              <a:defRPr b="1"/>
            </a:lvl4pPr>
            <a:lvl5pPr algn="ctr">
              <a:defRPr b="1"/>
            </a:lvl5pPr>
          </a:lstStyle>
          <a:p>
            <a:pPr lvl="0"/>
            <a:r>
              <a:rPr lang="en-US" dirty="0"/>
              <a:t>Click to add subtitle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EE6A979-FE4A-4C10-89A2-DF4E3F28906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8701" y="1821070"/>
            <a:ext cx="10134598" cy="3665330"/>
          </a:xfrm>
        </p:spPr>
        <p:txBody>
          <a:bodyPr lIns="0">
            <a:normAutofit/>
          </a:bodyPr>
          <a:lstStyle>
            <a:lvl1pPr algn="l">
              <a:defRPr sz="1800">
                <a:latin typeface="HurmeGeometricSans1 Regular" panose="020B0500020000000000" pitchFamily="34" charset="0"/>
              </a:defRPr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 dirty="0"/>
              <a:t>Click to add body text</a:t>
            </a:r>
            <a:endParaRPr lang="en-GB" dirty="0"/>
          </a:p>
        </p:txBody>
      </p:sp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7002E748-4569-48C4-91B7-B240276218F9}"/>
              </a:ext>
            </a:extLst>
          </p:cNvPr>
          <p:cNvSpPr txBox="1">
            <a:spLocks/>
          </p:cNvSpPr>
          <p:nvPr userDrawn="1"/>
        </p:nvSpPr>
        <p:spPr>
          <a:xfrm>
            <a:off x="186072" y="6214538"/>
            <a:ext cx="7560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en-US"/>
            </a:defPPr>
            <a:lvl1pPr marL="0" algn="r" defTabSz="685783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892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5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8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2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en-US" sz="1000" b="0" i="0" dirty="0">
              <a:solidFill>
                <a:schemeClr val="tx1"/>
              </a:solidFill>
              <a:latin typeface="HurmeGeometricSans1 Regular" panose="020B0500020000000000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6B433C8-1699-3AF4-D66D-FE3A292D22FC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>
          <a:xfrm>
            <a:off x="376376" y="6357383"/>
            <a:ext cx="390248" cy="365125"/>
          </a:xfrm>
          <a:prstGeom prst="rect">
            <a:avLst/>
          </a:prstGeom>
        </p:spPr>
        <p:txBody>
          <a:bodyPr/>
          <a:lstStyle/>
          <a:p>
            <a:fld id="{3633D75A-BE2D-484B-925B-BF3693E8768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 Placeholder 23">
            <a:extLst>
              <a:ext uri="{FF2B5EF4-FFF2-40B4-BE49-F238E27FC236}">
                <a16:creationId xmlns:a16="http://schemas.microsoft.com/office/drawing/2014/main" id="{9CA5A749-CA86-861E-1ABD-CE3B9A23CFC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28701" y="5737860"/>
            <a:ext cx="10134599" cy="280800"/>
          </a:xfrm>
        </p:spPr>
        <p:txBody>
          <a:bodyPr anchor="ctr">
            <a:normAutofit/>
          </a:bodyPr>
          <a:lstStyle>
            <a:lvl1pPr>
              <a:lnSpc>
                <a:spcPct val="120000"/>
              </a:lnSpc>
              <a:defRPr sz="1000">
                <a:solidFill>
                  <a:schemeClr val="tx1"/>
                </a:solidFill>
                <a:latin typeface="HurmeGeometricSans1 Regular" panose="020B0500020000000000" pitchFamily="34" charset="0"/>
              </a:defRPr>
            </a:lvl1pPr>
          </a:lstStyle>
          <a:p>
            <a:pPr lvl="0"/>
            <a:r>
              <a:rPr lang="en-US" dirty="0"/>
              <a:t>Source: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9095820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hankyou_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D49AD9CD-265A-D8F6-6E98-99D313881B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8700" y="2731122"/>
            <a:ext cx="5743575" cy="995144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lnSpc>
                <a:spcPct val="80000"/>
              </a:lnSpc>
              <a:defRPr sz="80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Thank you!</a:t>
            </a:r>
          </a:p>
        </p:txBody>
      </p:sp>
      <p:sp>
        <p:nvSpPr>
          <p:cNvPr id="4" name="Text Placeholder 12">
            <a:extLst>
              <a:ext uri="{FF2B5EF4-FFF2-40B4-BE49-F238E27FC236}">
                <a16:creationId xmlns:a16="http://schemas.microsoft.com/office/drawing/2014/main" id="{BF127DED-6476-B1CE-C271-9026429F1AF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28700" y="3849120"/>
            <a:ext cx="5743575" cy="817406"/>
          </a:xfrm>
        </p:spPr>
        <p:txBody>
          <a:bodyPr lIns="0" tIns="0" rIns="0" bIns="0">
            <a:normAutofit/>
          </a:bodyPr>
          <a:lstStyle>
            <a:lvl1pPr>
              <a:lnSpc>
                <a:spcPct val="82000"/>
              </a:lnSpc>
              <a:defRPr sz="2400" b="1" i="0">
                <a:latin typeface="HurmeGeometricSans1 SemiBold" panose="020B0500020000000000" pitchFamily="34" charset="77"/>
              </a:defRPr>
            </a:lvl1pPr>
          </a:lstStyle>
          <a:p>
            <a:r>
              <a:rPr lang="en-US" dirty="0"/>
              <a:t>Contact info</a:t>
            </a:r>
          </a:p>
        </p:txBody>
      </p:sp>
    </p:spTree>
    <p:extLst>
      <p:ext uri="{BB962C8B-B14F-4D97-AF65-F5344CB8AC3E}">
        <p14:creationId xmlns:p14="http://schemas.microsoft.com/office/powerpoint/2010/main" val="318476141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Cov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val 2">
            <a:extLst>
              <a:ext uri="{FF2B5EF4-FFF2-40B4-BE49-F238E27FC236}">
                <a16:creationId xmlns:a16="http://schemas.microsoft.com/office/drawing/2014/main" id="{E9B1C80B-AC57-2146-B025-507EBFF7A0A9}"/>
              </a:ext>
            </a:extLst>
          </p:cNvPr>
          <p:cNvSpPr/>
          <p:nvPr userDrawn="1"/>
        </p:nvSpPr>
        <p:spPr>
          <a:xfrm>
            <a:off x="-2093871" y="-2528040"/>
            <a:ext cx="11172092" cy="11172092"/>
          </a:xfrm>
          <a:prstGeom prst="ellipse">
            <a:avLst/>
          </a:prstGeom>
          <a:solidFill>
            <a:schemeClr val="bg1">
              <a:alpha val="4000"/>
            </a:schemeClr>
          </a:solidFill>
          <a:ln w="25400">
            <a:solidFill>
              <a:schemeClr val="tx2"/>
            </a:solidFill>
          </a:ln>
          <a:effectLst>
            <a:outerShdw blurRad="1066800" sx="102000" sy="102000" algn="ctr" rotWithShape="0">
              <a:prstClr val="black">
                <a:alpha val="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4007855-DEAD-E94A-ADB1-5A88DE818D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8700" y="2389746"/>
            <a:ext cx="6855412" cy="133652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lnSpc>
                <a:spcPct val="80000"/>
              </a:lnSpc>
              <a:defRPr sz="5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here to add headline/title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AD5FBDF2-41DF-0592-5628-F9B0A10E7AA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28700" y="4199439"/>
            <a:ext cx="6855412" cy="341880"/>
          </a:xfrm>
        </p:spPr>
        <p:txBody>
          <a:bodyPr lIns="0" tIns="0" rIns="0" bIns="0">
            <a:normAutofit/>
          </a:bodyPr>
          <a:lstStyle>
            <a:lvl1pPr>
              <a:lnSpc>
                <a:spcPct val="82000"/>
              </a:lnSpc>
              <a:defRPr sz="2400" b="0" i="0">
                <a:latin typeface="HurmeGeometricSans1 Regular" panose="020B0500020000000000" pitchFamily="34" charset="77"/>
              </a:defRPr>
            </a:lvl1pPr>
          </a:lstStyle>
          <a:p>
            <a:pPr>
              <a:lnSpc>
                <a:spcPct val="100000"/>
              </a:lnSpc>
            </a:pPr>
            <a:r>
              <a:rPr lang="en-US" dirty="0"/>
              <a:t>Presenter Title</a:t>
            </a:r>
            <a:endParaRPr lang="en-US" b="0" dirty="0">
              <a:latin typeface="HurmeGeometricSans1 Regular" panose="020B0500020000000000" pitchFamily="34" charset="77"/>
            </a:endParaRP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420A13D8-D727-7460-DE20-FDA7A0E1BA5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28700" y="3857559"/>
            <a:ext cx="6845300" cy="341880"/>
          </a:xfrm>
        </p:spPr>
        <p:txBody>
          <a:bodyPr lIns="0" tIns="0" rIns="0" bIns="0">
            <a:normAutofit/>
          </a:bodyPr>
          <a:lstStyle>
            <a:lvl1pPr>
              <a:lnSpc>
                <a:spcPct val="82000"/>
              </a:lnSpc>
              <a:defRPr sz="2400" b="0" i="0">
                <a:latin typeface="HurmeGeometricSans1 SemiBold" panose="020B0500020000000000" pitchFamily="34" charset="77"/>
              </a:defRPr>
            </a:lvl1pPr>
          </a:lstStyle>
          <a:p>
            <a:pPr>
              <a:lnSpc>
                <a:spcPct val="100000"/>
              </a:lnSpc>
            </a:pPr>
            <a:r>
              <a:rPr lang="en-US" dirty="0"/>
              <a:t>Presenter Name</a:t>
            </a:r>
            <a:endParaRPr lang="en-US" b="0" dirty="0">
              <a:latin typeface="HurmeGeometricSans1 Regular" panose="020B0500020000000000" pitchFamily="34" charset="77"/>
            </a:endParaRP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CCBC2955-728D-3E34-EF8B-B8E8D2DEBB8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28700" y="571500"/>
            <a:ext cx="1704709" cy="342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072758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ontent_Body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4BB112-9FB1-44E5-9BFE-044CFDF08E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9775" y="571751"/>
            <a:ext cx="10134599" cy="456437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9415EA9-8BD7-4213-B203-42A2FB09A24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28701" y="1028188"/>
            <a:ext cx="10135716" cy="354045"/>
          </a:xfrm>
        </p:spPr>
        <p:txBody>
          <a:bodyPr lIns="0" tIns="0" rIns="0" bIns="0"/>
          <a:lstStyle>
            <a:lvl1pPr algn="l">
              <a:defRPr b="0">
                <a:latin typeface="HurmeGeometricSans1 Regular" panose="020B0500020000000000" pitchFamily="34" charset="0"/>
              </a:defRPr>
            </a:lvl1pPr>
            <a:lvl2pPr algn="ctr">
              <a:defRPr b="1"/>
            </a:lvl2pPr>
            <a:lvl3pPr algn="ctr">
              <a:defRPr b="1"/>
            </a:lvl3pPr>
            <a:lvl4pPr algn="ctr">
              <a:defRPr b="1"/>
            </a:lvl4pPr>
            <a:lvl5pPr algn="ctr">
              <a:defRPr b="1"/>
            </a:lvl5pPr>
          </a:lstStyle>
          <a:p>
            <a:pPr lvl="0"/>
            <a:r>
              <a:rPr lang="en-US" dirty="0"/>
              <a:t>Click to add subtitle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EE6A979-FE4A-4C10-89A2-DF4E3F28906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8701" y="1821070"/>
            <a:ext cx="10134598" cy="3665330"/>
          </a:xfrm>
        </p:spPr>
        <p:txBody>
          <a:bodyPr lIns="0">
            <a:normAutofit/>
          </a:bodyPr>
          <a:lstStyle>
            <a:lvl1pPr algn="l">
              <a:defRPr sz="1400">
                <a:latin typeface="HurmeGeometricSans1 Regular" panose="020B0500020000000000" pitchFamily="34" charset="0"/>
              </a:defRPr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 dirty="0"/>
              <a:t>Click to add body text</a:t>
            </a:r>
            <a:endParaRPr lang="en-GB" dirty="0"/>
          </a:p>
        </p:txBody>
      </p:sp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7002E748-4569-48C4-91B7-B240276218F9}"/>
              </a:ext>
            </a:extLst>
          </p:cNvPr>
          <p:cNvSpPr txBox="1">
            <a:spLocks/>
          </p:cNvSpPr>
          <p:nvPr userDrawn="1"/>
        </p:nvSpPr>
        <p:spPr>
          <a:xfrm>
            <a:off x="186072" y="6214538"/>
            <a:ext cx="7560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en-US"/>
            </a:defPPr>
            <a:lvl1pPr marL="0" algn="r" defTabSz="685783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892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5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8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2" algn="l" defTabSz="6857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en-US" sz="1000" b="0" i="0" dirty="0">
              <a:solidFill>
                <a:schemeClr val="tx1"/>
              </a:solidFill>
              <a:latin typeface="HurmeGeometricSans1 Regular" panose="020B0500020000000000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6B433C8-1699-3AF4-D66D-FE3A292D22FC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>
          <a:xfrm>
            <a:off x="376376" y="6357383"/>
            <a:ext cx="390248" cy="365125"/>
          </a:xfrm>
          <a:prstGeom prst="rect">
            <a:avLst/>
          </a:prstGeom>
        </p:spPr>
        <p:txBody>
          <a:bodyPr/>
          <a:lstStyle/>
          <a:p>
            <a:fld id="{3633D75A-BE2D-484B-925B-BF3693E8768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 Placeholder 23">
            <a:extLst>
              <a:ext uri="{FF2B5EF4-FFF2-40B4-BE49-F238E27FC236}">
                <a16:creationId xmlns:a16="http://schemas.microsoft.com/office/drawing/2014/main" id="{9CA5A749-CA86-861E-1ABD-CE3B9A23CFC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28701" y="5737860"/>
            <a:ext cx="10134599" cy="280800"/>
          </a:xfrm>
        </p:spPr>
        <p:txBody>
          <a:bodyPr anchor="ctr">
            <a:normAutofit/>
          </a:bodyPr>
          <a:lstStyle>
            <a:lvl1pPr>
              <a:lnSpc>
                <a:spcPct val="120000"/>
              </a:lnSpc>
              <a:defRPr sz="1000">
                <a:solidFill>
                  <a:schemeClr val="tx1"/>
                </a:solidFill>
                <a:latin typeface="HurmeGeometricSans1 Regular" panose="020B0500020000000000" pitchFamily="34" charset="0"/>
              </a:defRPr>
            </a:lvl1pPr>
          </a:lstStyle>
          <a:p>
            <a:pPr lvl="0"/>
            <a:r>
              <a:rPr lang="en-US" dirty="0"/>
              <a:t>Source: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6231243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Graph_Dou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Content Placeholder 4">
            <a:extLst>
              <a:ext uri="{FF2B5EF4-FFF2-40B4-BE49-F238E27FC236}">
                <a16:creationId xmlns:a16="http://schemas.microsoft.com/office/drawing/2014/main" id="{AB9266CA-B0FC-4B12-BB65-2BBBE40477D1}"/>
              </a:ext>
            </a:extLst>
          </p:cNvPr>
          <p:cNvSpPr>
            <a:spLocks noGrp="1"/>
          </p:cNvSpPr>
          <p:nvPr>
            <p:ph sz="quarter" idx="38" hasCustomPrompt="1"/>
          </p:nvPr>
        </p:nvSpPr>
        <p:spPr>
          <a:xfrm>
            <a:off x="1035040" y="2344686"/>
            <a:ext cx="4852315" cy="3141714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ctr">
              <a:defRPr sz="1867" baseline="0">
                <a:solidFill>
                  <a:schemeClr val="tx1"/>
                </a:solidFill>
                <a:latin typeface="HurmeGeometricSans1 Regular" panose="020B0500020000000000" pitchFamily="34" charset="0"/>
                <a:ea typeface="HurmeGeometricSans1 Regular" panose="020B0500020000000000" pitchFamily="34" charset="0"/>
                <a:cs typeface="HurmeGeometricSans1 Regular" panose="020B0500020000000000" pitchFamily="34" charset="0"/>
              </a:defRPr>
            </a:lvl1pPr>
            <a:lvl2pPr>
              <a:defRPr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defRPr>
            </a:lvl2pPr>
            <a:lvl3pPr>
              <a:defRPr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defRPr>
            </a:lvl3pPr>
            <a:lvl4pPr>
              <a:defRPr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defRPr>
            </a:lvl4pPr>
            <a:lvl5pPr>
              <a:defRPr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defRPr>
            </a:lvl5pPr>
          </a:lstStyle>
          <a:p>
            <a:pPr lvl="0"/>
            <a:r>
              <a:rPr lang="en-US" dirty="0"/>
              <a:t>Add Chart, Table, </a:t>
            </a:r>
            <a:br>
              <a:rPr lang="en-US" dirty="0"/>
            </a:br>
            <a:r>
              <a:rPr lang="en-US" dirty="0"/>
              <a:t>Smart Art or Video Here</a:t>
            </a:r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1E410F98-D74F-454A-85B3-3BBDF9939F5F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028701" y="1828102"/>
            <a:ext cx="4864995" cy="391584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 i="0">
                <a:solidFill>
                  <a:srgbClr val="25292C"/>
                </a:solidFill>
                <a:latin typeface="Hurme Geometric Sans 4 Bold" panose="020B0A00020000000000" pitchFamily="34" charset="0"/>
                <a:ea typeface="Hurme Geometric Sans 4 Bold" panose="020B0A00020000000000" pitchFamily="34" charset="0"/>
                <a:cs typeface="Hurme Geometric Sans 4 Bold" panose="020B0A00020000000000" pitchFamily="34" charset="0"/>
              </a:defRPr>
            </a:lvl1pPr>
          </a:lstStyle>
          <a:p>
            <a:pPr lvl="0"/>
            <a:r>
              <a:rPr lang="en-US" dirty="0"/>
              <a:t>Chart Title Goes Here</a:t>
            </a:r>
          </a:p>
        </p:txBody>
      </p:sp>
      <p:sp>
        <p:nvSpPr>
          <p:cNvPr id="9" name="Content Placeholder 4">
            <a:extLst>
              <a:ext uri="{FF2B5EF4-FFF2-40B4-BE49-F238E27FC236}">
                <a16:creationId xmlns:a16="http://schemas.microsoft.com/office/drawing/2014/main" id="{D7D3D24A-3C32-4443-AEFA-D38D00476014}"/>
              </a:ext>
            </a:extLst>
          </p:cNvPr>
          <p:cNvSpPr>
            <a:spLocks noGrp="1"/>
          </p:cNvSpPr>
          <p:nvPr>
            <p:ph sz="quarter" idx="46" hasCustomPrompt="1"/>
          </p:nvPr>
        </p:nvSpPr>
        <p:spPr>
          <a:xfrm>
            <a:off x="6325582" y="2344685"/>
            <a:ext cx="4852315" cy="3141715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ctr">
              <a:defRPr sz="1867" baseline="0">
                <a:solidFill>
                  <a:schemeClr val="tx1"/>
                </a:solidFill>
                <a:latin typeface="HurmeGeometricSans1 Regular" panose="020B0500020000000000" pitchFamily="34" charset="0"/>
                <a:ea typeface="HurmeGeometricSans1 Regular" panose="020B0500020000000000" pitchFamily="34" charset="0"/>
                <a:cs typeface="HurmeGeometricSans1 Regular" panose="020B0500020000000000" pitchFamily="34" charset="0"/>
              </a:defRPr>
            </a:lvl1pPr>
            <a:lvl2pPr>
              <a:defRPr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defRPr>
            </a:lvl2pPr>
            <a:lvl3pPr>
              <a:defRPr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defRPr>
            </a:lvl3pPr>
            <a:lvl4pPr>
              <a:defRPr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defRPr>
            </a:lvl4pPr>
            <a:lvl5pPr>
              <a:defRPr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defRPr>
            </a:lvl5pPr>
          </a:lstStyle>
          <a:p>
            <a:pPr lvl="0"/>
            <a:r>
              <a:rPr lang="en-US" dirty="0"/>
              <a:t>Add Chart, Table, </a:t>
            </a:r>
            <a:br>
              <a:rPr lang="en-US" dirty="0"/>
            </a:br>
            <a:r>
              <a:rPr lang="en-US" dirty="0"/>
              <a:t>Smart Art or Video Here</a:t>
            </a:r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D5E206D0-FB7C-45A3-B08B-AF3BFD70773B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291965" y="1828102"/>
            <a:ext cx="4864995" cy="391584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 i="0">
                <a:solidFill>
                  <a:srgbClr val="25292C"/>
                </a:solidFill>
                <a:latin typeface="Hurme Geometric Sans 4 Bold" panose="020B0A00020000000000" pitchFamily="34" charset="0"/>
                <a:ea typeface="Hurme Geometric Sans 4 Bold" panose="020B0A00020000000000" pitchFamily="34" charset="0"/>
                <a:cs typeface="Hurme Geometric Sans 4 Bold" panose="020B0A00020000000000" pitchFamily="34" charset="0"/>
              </a:defRPr>
            </a:lvl1pPr>
          </a:lstStyle>
          <a:p>
            <a:pPr lvl="0"/>
            <a:r>
              <a:rPr lang="en-US" dirty="0"/>
              <a:t>Chart Title Goes Her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0A806A4-7D38-480A-81CD-29E3FBFEF4F8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425569"/>
            <a:ext cx="0" cy="442800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1">
            <a:extLst>
              <a:ext uri="{FF2B5EF4-FFF2-40B4-BE49-F238E27FC236}">
                <a16:creationId xmlns:a16="http://schemas.microsoft.com/office/drawing/2014/main" id="{1C4B8EC3-54A4-CDA5-0843-C764CBE98D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9775" y="571751"/>
            <a:ext cx="10133525" cy="456437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DA21705C-709B-CD8A-32DC-F531ED97996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28701" y="1028188"/>
            <a:ext cx="10134642" cy="354045"/>
          </a:xfrm>
        </p:spPr>
        <p:txBody>
          <a:bodyPr lIns="0" tIns="0" rIns="0" bIns="0"/>
          <a:lstStyle>
            <a:lvl1pPr algn="l">
              <a:defRPr b="0">
                <a:latin typeface="HurmeGeometricSans1 Regular" panose="020B0500020000000000" pitchFamily="34" charset="0"/>
              </a:defRPr>
            </a:lvl1pPr>
            <a:lvl2pPr algn="ctr">
              <a:defRPr b="1"/>
            </a:lvl2pPr>
            <a:lvl3pPr algn="ctr">
              <a:defRPr b="1"/>
            </a:lvl3pPr>
            <a:lvl4pPr algn="ctr">
              <a:defRPr b="1"/>
            </a:lvl4pPr>
            <a:lvl5pPr algn="ctr">
              <a:defRPr b="1"/>
            </a:lvl5pPr>
          </a:lstStyle>
          <a:p>
            <a:pPr lvl="0"/>
            <a:r>
              <a:rPr lang="en-US" dirty="0"/>
              <a:t>Click to add subtitle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6FA1714-B6E5-2849-CB26-4D465FED480C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376376" y="6357383"/>
            <a:ext cx="390248" cy="365125"/>
          </a:xfrm>
          <a:prstGeom prst="rect">
            <a:avLst/>
          </a:prstGeom>
        </p:spPr>
        <p:txBody>
          <a:bodyPr/>
          <a:lstStyle/>
          <a:p>
            <a:fld id="{3633D75A-BE2D-484B-925B-BF3693E8768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Text Placeholder 23">
            <a:extLst>
              <a:ext uri="{FF2B5EF4-FFF2-40B4-BE49-F238E27FC236}">
                <a16:creationId xmlns:a16="http://schemas.microsoft.com/office/drawing/2014/main" id="{92BE98B4-4DDB-87B2-1352-C73BCD5AFF9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28702" y="5737860"/>
            <a:ext cx="4864994" cy="280800"/>
          </a:xfrm>
        </p:spPr>
        <p:txBody>
          <a:bodyPr anchor="ctr">
            <a:normAutofit/>
          </a:bodyPr>
          <a:lstStyle>
            <a:lvl1pPr>
              <a:lnSpc>
                <a:spcPct val="120000"/>
              </a:lnSpc>
              <a:defRPr sz="1000">
                <a:solidFill>
                  <a:schemeClr val="tx1"/>
                </a:solidFill>
                <a:latin typeface="HurmeGeometricSans1 Regular" panose="020B0500020000000000" pitchFamily="34" charset="0"/>
              </a:defRPr>
            </a:lvl1pPr>
          </a:lstStyle>
          <a:p>
            <a:pPr lvl="0"/>
            <a:r>
              <a:rPr lang="en-US" dirty="0"/>
              <a:t>Source:</a:t>
            </a:r>
            <a:endParaRPr lang="en-GB" dirty="0"/>
          </a:p>
        </p:txBody>
      </p:sp>
      <p:sp>
        <p:nvSpPr>
          <p:cNvPr id="16" name="Text Placeholder 23">
            <a:extLst>
              <a:ext uri="{FF2B5EF4-FFF2-40B4-BE49-F238E27FC236}">
                <a16:creationId xmlns:a16="http://schemas.microsoft.com/office/drawing/2014/main" id="{7ADB659E-7F40-B40B-7DEB-27BED0675833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6325582" y="5737860"/>
            <a:ext cx="4864994" cy="280800"/>
          </a:xfrm>
        </p:spPr>
        <p:txBody>
          <a:bodyPr anchor="ctr">
            <a:normAutofit/>
          </a:bodyPr>
          <a:lstStyle>
            <a:lvl1pPr>
              <a:lnSpc>
                <a:spcPct val="120000"/>
              </a:lnSpc>
              <a:defRPr sz="1000">
                <a:solidFill>
                  <a:schemeClr val="tx1"/>
                </a:solidFill>
                <a:latin typeface="HurmeGeometricSans1 Regular" panose="020B0500020000000000" pitchFamily="34" charset="0"/>
              </a:defRPr>
            </a:lvl1pPr>
          </a:lstStyle>
          <a:p>
            <a:pPr lvl="0"/>
            <a:r>
              <a:rPr lang="en-US" dirty="0"/>
              <a:t>Source: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3101366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Bullet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240A18B7-CC5B-63C0-96D3-DB3F361974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9775" y="571751"/>
            <a:ext cx="10133525" cy="456437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5064948D-7F22-3A0B-26CD-69C5E2BAF64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28701" y="1028188"/>
            <a:ext cx="10134642" cy="354045"/>
          </a:xfrm>
        </p:spPr>
        <p:txBody>
          <a:bodyPr lIns="0" tIns="0" rIns="0" bIns="0"/>
          <a:lstStyle>
            <a:lvl1pPr algn="l">
              <a:defRPr b="0">
                <a:latin typeface="HurmeGeometricSans1 Regular" panose="020B0500020000000000" pitchFamily="34" charset="0"/>
              </a:defRPr>
            </a:lvl1pPr>
            <a:lvl2pPr algn="ctr">
              <a:defRPr b="1"/>
            </a:lvl2pPr>
            <a:lvl3pPr algn="ctr">
              <a:defRPr b="1"/>
            </a:lvl3pPr>
            <a:lvl4pPr algn="ctr">
              <a:defRPr b="1"/>
            </a:lvl4pPr>
            <a:lvl5pPr algn="ctr">
              <a:defRPr b="1"/>
            </a:lvl5pPr>
          </a:lstStyle>
          <a:p>
            <a:pPr lvl="0"/>
            <a:r>
              <a:rPr lang="en-US" dirty="0"/>
              <a:t>Click to add subtitle</a:t>
            </a:r>
            <a:endParaRPr lang="en-GB" dirty="0"/>
          </a:p>
        </p:txBody>
      </p:sp>
      <p:sp>
        <p:nvSpPr>
          <p:cNvPr id="9" name="Text Placeholder 23">
            <a:extLst>
              <a:ext uri="{FF2B5EF4-FFF2-40B4-BE49-F238E27FC236}">
                <a16:creationId xmlns:a16="http://schemas.microsoft.com/office/drawing/2014/main" id="{BF34ADC9-F09A-2A3B-9D2B-11959F837D3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28701" y="5737860"/>
            <a:ext cx="10134599" cy="280800"/>
          </a:xfrm>
        </p:spPr>
        <p:txBody>
          <a:bodyPr anchor="ctr">
            <a:normAutofit/>
          </a:bodyPr>
          <a:lstStyle>
            <a:lvl1pPr>
              <a:lnSpc>
                <a:spcPct val="120000"/>
              </a:lnSpc>
              <a:defRPr sz="1000">
                <a:solidFill>
                  <a:schemeClr val="tx1"/>
                </a:solidFill>
                <a:latin typeface="HurmeGeometricSans1 Regular" panose="020B0500020000000000" pitchFamily="34" charset="0"/>
              </a:defRPr>
            </a:lvl1pPr>
          </a:lstStyle>
          <a:p>
            <a:pPr lvl="0"/>
            <a:r>
              <a:rPr lang="en-US" dirty="0"/>
              <a:t>Source:</a:t>
            </a:r>
            <a:endParaRPr lang="en-GB" dirty="0"/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B5635B26-2E9E-CE16-30A4-FA32F44A862D}"/>
              </a:ext>
            </a:extLst>
          </p:cNvPr>
          <p:cNvSpPr txBox="1">
            <a:spLocks/>
          </p:cNvSpPr>
          <p:nvPr userDrawn="1"/>
        </p:nvSpPr>
        <p:spPr>
          <a:xfrm>
            <a:off x="10229088" y="6287935"/>
            <a:ext cx="1637658" cy="365125"/>
          </a:xfrm>
          <a:prstGeom prst="rect">
            <a:avLst/>
          </a:prstGeom>
        </p:spPr>
        <p:txBody>
          <a:bodyPr vert="horz" lIns="91440" tIns="45720" rIns="91440" bIns="45720" rtlCol="0" anchor="ctr" anchorCtr="0"/>
          <a:lstStyle>
            <a:defPPr>
              <a:defRPr lang="en-US"/>
            </a:defPPr>
            <a:lvl1pPr marL="0" algn="r" defTabSz="914354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78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4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2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8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latin typeface="Helvetica" pitchFamily="2" charset="0"/>
              </a:rPr>
              <a:t> Alberto Lumbreras </a:t>
            </a:r>
            <a:r>
              <a:rPr lang="en-US" dirty="0"/>
              <a:t>| </a:t>
            </a:r>
            <a:fld id="{3633D75A-BE2D-484B-925B-BF3693E8768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118112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35D52D-2381-0095-C8F7-CB9677C487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20982D8-DA4D-8189-E496-48FB782FD5A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>
                <a:latin typeface="Helvetica" pitchFamily="2" charset="0"/>
              </a:rPr>
              <a:t> Alberto Lumbreras </a:t>
            </a:r>
            <a:r>
              <a:rPr lang="en-US" dirty="0"/>
              <a:t>| #</a:t>
            </a:r>
          </a:p>
        </p:txBody>
      </p:sp>
    </p:spTree>
    <p:extLst>
      <p:ext uri="{BB962C8B-B14F-4D97-AF65-F5344CB8AC3E}">
        <p14:creationId xmlns:p14="http://schemas.microsoft.com/office/powerpoint/2010/main" val="306320610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EF67B3-82B7-C299-F631-EC4D273F39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C68AD70-3F58-1386-B07C-B13DC186C07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>
                <a:latin typeface="Helvetica" pitchFamily="2" charset="0"/>
              </a:rPr>
              <a:t> Alberto Lumbreras </a:t>
            </a:r>
            <a:r>
              <a:rPr lang="en-US" dirty="0"/>
              <a:t>| #</a:t>
            </a:r>
          </a:p>
        </p:txBody>
      </p:sp>
    </p:spTree>
    <p:extLst>
      <p:ext uri="{BB962C8B-B14F-4D97-AF65-F5344CB8AC3E}">
        <p14:creationId xmlns:p14="http://schemas.microsoft.com/office/powerpoint/2010/main" val="159083106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E4D38A-27C7-1ABE-A2B4-2301727C99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C25269E-AA12-C339-D566-325C06EA89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>
                <a:latin typeface="Helvetica" pitchFamily="2" charset="0"/>
              </a:rPr>
              <a:t> Alberto Lumbreras </a:t>
            </a:r>
            <a:r>
              <a:rPr lang="en-US" dirty="0"/>
              <a:t>| #</a:t>
            </a:r>
          </a:p>
        </p:txBody>
      </p:sp>
    </p:spTree>
    <p:extLst>
      <p:ext uri="{BB962C8B-B14F-4D97-AF65-F5344CB8AC3E}">
        <p14:creationId xmlns:p14="http://schemas.microsoft.com/office/powerpoint/2010/main" val="210862021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99B2AD-FFC4-7EA7-17F0-5A7A2B989E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1E9C20C-DB45-7858-2EDC-BF6901E0A2D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>
                <a:latin typeface="Helvetica" pitchFamily="2" charset="0"/>
              </a:rPr>
              <a:t> Alberto Lumbreras </a:t>
            </a:r>
            <a:r>
              <a:rPr lang="en-US" dirty="0"/>
              <a:t>| #</a:t>
            </a:r>
          </a:p>
        </p:txBody>
      </p:sp>
    </p:spTree>
    <p:extLst>
      <p:ext uri="{BB962C8B-B14F-4D97-AF65-F5344CB8AC3E}">
        <p14:creationId xmlns:p14="http://schemas.microsoft.com/office/powerpoint/2010/main" val="426806851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7B51DE-E56C-445F-5CB2-91AEABC57B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689615E-F760-8747-6943-B08E31F6A16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>
                <a:latin typeface="Helvetica" pitchFamily="2" charset="0"/>
              </a:rPr>
              <a:t> Alberto Lumbreras </a:t>
            </a:r>
            <a:r>
              <a:rPr lang="en-US" dirty="0"/>
              <a:t>| #</a:t>
            </a:r>
          </a:p>
        </p:txBody>
      </p:sp>
    </p:spTree>
    <p:extLst>
      <p:ext uri="{BB962C8B-B14F-4D97-AF65-F5344CB8AC3E}">
        <p14:creationId xmlns:p14="http://schemas.microsoft.com/office/powerpoint/2010/main" val="240940493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440ACA-95A6-DA00-8222-6794A990CE7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21D32D1-03E6-13B1-C53A-881210B1D91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3FFD574-4693-1D4E-D71B-869422A210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051F44-E94E-154E-A25C-B824D75519BE}" type="datetimeFigureOut">
              <a:rPr lang="en-US" smtClean="0"/>
              <a:t>7/15/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695BC06-ACAA-4A5B-3191-B398F73C81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C7F7EB-C51F-B1CE-56F7-035E8EDEBA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1FE1B9-7722-384C-833E-E7BED104651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058259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C9A6F7-BFE5-39EB-71D1-7929956C44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600EDE4-6680-197D-C335-8D0A87E8EB9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C12BC20-E040-E0B4-1852-EAAE46E122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051F44-E94E-154E-A25C-B824D75519BE}" type="datetimeFigureOut">
              <a:rPr lang="en-US" smtClean="0"/>
              <a:t>7/15/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C9684D0-5004-B555-63B5-6E084FA45A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FB13E5A-5E3F-812D-04FC-3BFC3D3EF0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1FE1B9-7722-384C-833E-E7BED104651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373084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56C619-7F12-6B48-EEA0-5B372AABDD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391F713-4C55-2882-958E-0521FB5F1A1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5BDEDD7-C782-0A7F-2B0D-DD4470755B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051F44-E94E-154E-A25C-B824D75519BE}" type="datetimeFigureOut">
              <a:rPr lang="en-US" smtClean="0"/>
              <a:t>7/15/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63C585D-B539-D495-D70B-E99B3FFBA1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8BA0704-2A28-9D77-A6A4-A995B32181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1FE1B9-7722-384C-833E-E7BED104651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652539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DAC975-A4FE-31BE-BAA6-823165CBD3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D91F9C3-B72D-2799-BA66-1693B3AC37F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E208556-EAC6-E463-719D-6B4E7503518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B1CFDF8-675F-00E8-1FE2-96B40EC261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051F44-E94E-154E-A25C-B824D75519BE}" type="datetimeFigureOut">
              <a:rPr lang="en-US" smtClean="0"/>
              <a:t>7/15/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F033C11-13E4-6876-2544-69241B1F00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065F10D-9AA6-DD95-7242-FFDAE6AA29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1FE1B9-7722-384C-833E-E7BED104651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827074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8051B2-CB3B-2BBD-8B1E-912A7CC714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4D2277C-D769-53CB-0583-B7F93DD7839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9A05371-A3A3-FD9E-B3BC-692ADBC979D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A141E4C-E8E3-E664-6160-DA201A17361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7A83EEF-66B3-F325-8071-E1F980C1B9F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071E4DC-E454-A290-9E63-9A953F5526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051F44-E94E-154E-A25C-B824D75519BE}" type="datetimeFigureOut">
              <a:rPr lang="en-US" smtClean="0"/>
              <a:t>7/15/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226CAD0-D573-153F-6E70-E20E997D13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55F4593-D238-8C2D-23DB-13A988E9F1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1FE1B9-7722-384C-833E-E7BED104651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531465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arg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C5A12E8-E740-A7CA-8CFD-86894159D8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499" y="571501"/>
            <a:ext cx="10736965" cy="56972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B5394F0-0DF0-13C9-1221-42521115019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180320" y="6287935"/>
            <a:ext cx="1686426" cy="365125"/>
          </a:xfrm>
        </p:spPr>
        <p:txBody>
          <a:bodyPr/>
          <a:lstStyle/>
          <a:p>
            <a:r>
              <a:rPr lang="en-US" dirty="0">
                <a:latin typeface="Helvetica" pitchFamily="2" charset="0"/>
              </a:rPr>
              <a:t> Alberto Lumbreras </a:t>
            </a:r>
            <a:r>
              <a:rPr lang="en-US" dirty="0"/>
              <a:t>| </a:t>
            </a:r>
            <a:fld id="{3633D75A-BE2D-484B-925B-BF3693E8768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64530172-5FE4-2747-2A72-EB10CAC5BE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71499" y="1175235"/>
            <a:ext cx="10135716" cy="354045"/>
          </a:xfrm>
        </p:spPr>
        <p:txBody>
          <a:bodyPr lIns="0" tIns="0" rIns="0" bIns="0"/>
          <a:lstStyle>
            <a:lvl1pPr algn="l">
              <a:defRPr sz="2150" b="0">
                <a:latin typeface="HurmeGeometricSans1 Regular" panose="020B0500020000000000" pitchFamily="34" charset="0"/>
              </a:defRPr>
            </a:lvl1pPr>
            <a:lvl2pPr algn="ctr">
              <a:defRPr b="1"/>
            </a:lvl2pPr>
            <a:lvl3pPr algn="ctr">
              <a:defRPr b="1"/>
            </a:lvl3pPr>
            <a:lvl4pPr algn="ctr">
              <a:defRPr b="1"/>
            </a:lvl4pPr>
            <a:lvl5pPr algn="ctr">
              <a:defRPr b="1"/>
            </a:lvl5pPr>
          </a:lstStyle>
          <a:p>
            <a:pPr lvl="0"/>
            <a:r>
              <a:rPr lang="en-US" dirty="0"/>
              <a:t>Click to add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6948564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4BDDF4-D7B3-D94F-DE2F-6CB26F0BC3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0EBEA60-9240-FF7D-F786-73B1EB3A10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051F44-E94E-154E-A25C-B824D75519BE}" type="datetimeFigureOut">
              <a:rPr lang="en-US" smtClean="0"/>
              <a:t>7/15/24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DB77819-6EE0-CB31-4CF6-D0080773E8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A8BA7B7-5146-2BDD-F198-1BF1D2DACF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1FE1B9-7722-384C-833E-E7BED104651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536601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FAF596D-9577-2B1C-5E72-0945A5EF75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051F44-E94E-154E-A25C-B824D75519BE}" type="datetimeFigureOut">
              <a:rPr lang="en-US" smtClean="0"/>
              <a:t>7/15/24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566EB19-D45D-6220-2567-CDF07FE492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7EF9059-A74C-DA2E-DBB9-2127BAF0C5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1FE1B9-7722-384C-833E-E7BED104651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612394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E65031-B0C0-62DE-79DF-D72213AF14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BEAC09F-A8BF-FE62-A662-B5158A4FD01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DC55B97-274E-9A70-9B35-F9CCAFCB088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30EDBE1-6C4D-045A-6033-40E5FC2D97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051F44-E94E-154E-A25C-B824D75519BE}" type="datetimeFigureOut">
              <a:rPr lang="en-US" smtClean="0"/>
              <a:t>7/15/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2619E1E-CEAC-C348-E04E-7AFB1D8D6F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070DFDF-BE59-0062-B7BE-45629E6BA8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1FE1B9-7722-384C-833E-E7BED104651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080805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0711D1-CE22-DC01-0FC1-C364147988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316EF9F-46D2-0375-31E1-CB4F55E382A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D75D719-587C-3EC1-7FA9-D2C5EB07F6B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B8AE43B-3A13-F243-14E1-7C85DA2D3E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051F44-E94E-154E-A25C-B824D75519BE}" type="datetimeFigureOut">
              <a:rPr lang="en-US" smtClean="0"/>
              <a:t>7/15/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7AD5E11-F49D-9ADA-55F7-3853E3A96F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409D6C7-94FE-B639-1D9C-67A43A3D57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1FE1B9-7722-384C-833E-E7BED104651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23043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007855-DEAD-E94A-ADB1-5A88DE818D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8700" y="2389746"/>
            <a:ext cx="6855412" cy="133652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lnSpc>
                <a:spcPct val="80000"/>
              </a:lnSpc>
              <a:defRPr sz="5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here to add headline/title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AD5FBDF2-41DF-0592-5628-F9B0A10E7AA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28700" y="4199439"/>
            <a:ext cx="6855412" cy="341880"/>
          </a:xfrm>
        </p:spPr>
        <p:txBody>
          <a:bodyPr lIns="0" tIns="0" rIns="0" bIns="0">
            <a:normAutofit/>
          </a:bodyPr>
          <a:lstStyle>
            <a:lvl1pPr>
              <a:lnSpc>
                <a:spcPct val="82000"/>
              </a:lnSpc>
              <a:defRPr sz="2400" b="0" i="0">
                <a:latin typeface="HurmeGeometricSans1 Regular" panose="020B0500020000000000" pitchFamily="34" charset="77"/>
              </a:defRPr>
            </a:lvl1pPr>
          </a:lstStyle>
          <a:p>
            <a:pPr>
              <a:lnSpc>
                <a:spcPct val="100000"/>
              </a:lnSpc>
            </a:pPr>
            <a:r>
              <a:rPr lang="en-US" dirty="0"/>
              <a:t>Presenter Title</a:t>
            </a:r>
            <a:endParaRPr lang="en-US" b="0" dirty="0">
              <a:latin typeface="HurmeGeometricSans1 Regular" panose="020B0500020000000000" pitchFamily="34" charset="77"/>
            </a:endParaRP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420A13D8-D727-7460-DE20-FDA7A0E1BA5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28700" y="3857559"/>
            <a:ext cx="6845300" cy="341880"/>
          </a:xfrm>
        </p:spPr>
        <p:txBody>
          <a:bodyPr lIns="0" tIns="0" rIns="0" bIns="0">
            <a:normAutofit/>
          </a:bodyPr>
          <a:lstStyle>
            <a:lvl1pPr>
              <a:lnSpc>
                <a:spcPct val="82000"/>
              </a:lnSpc>
              <a:defRPr sz="2400" b="0" i="0">
                <a:latin typeface="HurmeGeometricSans1 SemiBold" panose="020B0500020000000000" pitchFamily="34" charset="77"/>
              </a:defRPr>
            </a:lvl1pPr>
          </a:lstStyle>
          <a:p>
            <a:pPr>
              <a:lnSpc>
                <a:spcPct val="100000"/>
              </a:lnSpc>
            </a:pPr>
            <a:r>
              <a:rPr lang="en-US" dirty="0"/>
              <a:t>Presenter Name</a:t>
            </a:r>
            <a:endParaRPr lang="en-US" b="0" dirty="0">
              <a:latin typeface="HurmeGeometricSans1 Regular" panose="020B0500020000000000" pitchFamily="34" charset="77"/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434197F4-7FA1-97D2-4388-D6474AEFCE38}"/>
              </a:ext>
            </a:extLst>
          </p:cNvPr>
          <p:cNvSpPr/>
          <p:nvPr userDrawn="1"/>
        </p:nvSpPr>
        <p:spPr>
          <a:xfrm>
            <a:off x="-2093871" y="-2528040"/>
            <a:ext cx="11172092" cy="11172092"/>
          </a:xfrm>
          <a:prstGeom prst="ellipse">
            <a:avLst/>
          </a:prstGeom>
          <a:solidFill>
            <a:schemeClr val="bg1">
              <a:alpha val="4000"/>
            </a:schemeClr>
          </a:solidFill>
          <a:ln w="25400">
            <a:solidFill>
              <a:schemeClr val="tx2"/>
            </a:solidFill>
          </a:ln>
          <a:effectLst>
            <a:outerShdw blurRad="1066800" sx="102000" sy="102000" algn="ctr" rotWithShape="0">
              <a:prstClr val="black">
                <a:alpha val="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31110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3_Ite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4BB112-9FB1-44E5-9BFE-044CFDF08E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8700" y="571500"/>
            <a:ext cx="10134599" cy="435049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Agenda title</a:t>
            </a:r>
            <a:endParaRPr lang="en-GB" dirty="0"/>
          </a:p>
        </p:txBody>
      </p:sp>
      <p:sp>
        <p:nvSpPr>
          <p:cNvPr id="24" name="Text Placeholder 11">
            <a:extLst>
              <a:ext uri="{FF2B5EF4-FFF2-40B4-BE49-F238E27FC236}">
                <a16:creationId xmlns:a16="http://schemas.microsoft.com/office/drawing/2014/main" id="{093692F4-CDD9-A6EB-19A8-6A9194D6533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403612" y="3644846"/>
            <a:ext cx="2122314" cy="1080000"/>
          </a:xfrm>
        </p:spPr>
        <p:txBody>
          <a:bodyPr lIns="0" tIns="0" rIns="0" bIns="0">
            <a:normAutofit/>
          </a:bodyPr>
          <a:lstStyle>
            <a:lvl1pPr algn="ctr">
              <a:lnSpc>
                <a:spcPct val="110000"/>
              </a:lnSpc>
              <a:defRPr sz="1800" b="1">
                <a:latin typeface="Hurme Geometric Sans 4 Bold" panose="020B0A00020000000000" pitchFamily="34" charset="0"/>
              </a:defRPr>
            </a:lvl1pPr>
          </a:lstStyle>
          <a:p>
            <a:pPr lvl="0"/>
            <a:r>
              <a:rPr lang="en-US" dirty="0"/>
              <a:t>Agenda Topic One Goes Here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3E80DB1-FB7E-6760-CF00-0C516A0C450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376376" y="6357383"/>
            <a:ext cx="390248" cy="365125"/>
          </a:xfrm>
          <a:prstGeom prst="rect">
            <a:avLst/>
          </a:prstGeom>
        </p:spPr>
        <p:txBody>
          <a:bodyPr/>
          <a:lstStyle/>
          <a:p>
            <a:fld id="{3633D75A-BE2D-484B-925B-BF3693E8768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AC490F0A-3D98-3161-3A08-3D228E54208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052563" y="3646269"/>
            <a:ext cx="2122314" cy="1080000"/>
          </a:xfrm>
        </p:spPr>
        <p:txBody>
          <a:bodyPr lIns="0" tIns="0" rIns="0" bIns="0">
            <a:normAutofit/>
          </a:bodyPr>
          <a:lstStyle>
            <a:lvl1pPr algn="ctr">
              <a:lnSpc>
                <a:spcPct val="110000"/>
              </a:lnSpc>
              <a:defRPr sz="1800" b="1">
                <a:latin typeface="Hurme Geometric Sans 4 Bold" panose="020B0A00020000000000" pitchFamily="34" charset="0"/>
              </a:defRPr>
            </a:lvl1pPr>
          </a:lstStyle>
          <a:p>
            <a:pPr lvl="0"/>
            <a:r>
              <a:rPr lang="en-US" dirty="0"/>
              <a:t>Agenda Topic Two Goes Here</a:t>
            </a:r>
            <a:endParaRPr lang="en-GB" dirty="0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EDEFC095-5899-F73C-A04F-89567D6263C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701514" y="3644846"/>
            <a:ext cx="2122314" cy="1080000"/>
          </a:xfrm>
        </p:spPr>
        <p:txBody>
          <a:bodyPr lIns="0" tIns="0" rIns="0" bIns="0">
            <a:normAutofit/>
          </a:bodyPr>
          <a:lstStyle>
            <a:lvl1pPr algn="ctr">
              <a:lnSpc>
                <a:spcPct val="110000"/>
              </a:lnSpc>
              <a:defRPr sz="1800" b="1">
                <a:latin typeface="Hurme Geometric Sans 4 Bold" panose="020B0A00020000000000" pitchFamily="34" charset="0"/>
              </a:defRPr>
            </a:lvl1pPr>
          </a:lstStyle>
          <a:p>
            <a:pPr lvl="0"/>
            <a:r>
              <a:rPr lang="en-US" dirty="0"/>
              <a:t>Agenda Topic Three Goes He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8561038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-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63E4741E-840A-7B02-DA1F-BAF9D9A499E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8700" y="2853458"/>
            <a:ext cx="7792937" cy="1151084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algn="l">
              <a:lnSpc>
                <a:spcPct val="85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divider slide headline</a:t>
            </a:r>
          </a:p>
        </p:txBody>
      </p:sp>
    </p:spTree>
    <p:extLst>
      <p:ext uri="{BB962C8B-B14F-4D97-AF65-F5344CB8AC3E}">
        <p14:creationId xmlns:p14="http://schemas.microsoft.com/office/powerpoint/2010/main" val="365565389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-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6A26A60E-8C7B-7F5E-085C-5355005D76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8700" y="2853458"/>
            <a:ext cx="7792937" cy="1151084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algn="l">
              <a:lnSpc>
                <a:spcPct val="85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divider slide headline</a:t>
            </a:r>
          </a:p>
        </p:txBody>
      </p:sp>
    </p:spTree>
    <p:extLst>
      <p:ext uri="{BB962C8B-B14F-4D97-AF65-F5344CB8AC3E}">
        <p14:creationId xmlns:p14="http://schemas.microsoft.com/office/powerpoint/2010/main" val="415191103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-4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6CD6D769-56C2-68D9-3D8B-E311380A82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8700" y="2853458"/>
            <a:ext cx="7792937" cy="1151084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algn="l">
              <a:lnSpc>
                <a:spcPct val="85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divider slide headline</a:t>
            </a:r>
          </a:p>
        </p:txBody>
      </p:sp>
    </p:spTree>
    <p:extLst>
      <p:ext uri="{BB962C8B-B14F-4D97-AF65-F5344CB8AC3E}">
        <p14:creationId xmlns:p14="http://schemas.microsoft.com/office/powerpoint/2010/main" val="24090482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9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EC19E66-B241-46E9-90E9-26B6B8D103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6"/>
            </p:custDataLst>
            <p:extLst>
              <p:ext uri="{D42A27DB-BD31-4B8C-83A1-F6EECF244321}">
                <p14:modId xmlns:p14="http://schemas.microsoft.com/office/powerpoint/2010/main" val="29250012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7" imgW="473" imgH="476" progId="TCLayout.ActiveDocument.1">
                  <p:embed/>
                </p:oleObj>
              </mc:Choice>
              <mc:Fallback>
                <p:oleObj name="think-cell Slide" r:id="rId37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EC19E66-B241-46E9-90E9-26B6B8D103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1500" y="1616149"/>
            <a:ext cx="10736966" cy="41493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3" name="Title Placeholder 22">
            <a:extLst>
              <a:ext uri="{FF2B5EF4-FFF2-40B4-BE49-F238E27FC236}">
                <a16:creationId xmlns:a16="http://schemas.microsoft.com/office/drawing/2014/main" id="{193F1B5F-B9CF-52ED-0FF0-99DF837F7A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499" y="571501"/>
            <a:ext cx="10736965" cy="569728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69AF9D64-54D6-B237-15B8-4406800782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394066" y="6287935"/>
            <a:ext cx="1472680" cy="365125"/>
          </a:xfrm>
          <a:prstGeom prst="rect">
            <a:avLst/>
          </a:prstGeom>
        </p:spPr>
        <p:txBody>
          <a:bodyPr vert="horz" lIns="91440" tIns="45720" rIns="91440" bIns="45720" rtlCol="0" anchor="ctr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>
                <a:latin typeface="Helvetica" pitchFamily="2" charset="0"/>
              </a:rPr>
              <a:t> Alberto Lumbreras </a:t>
            </a:r>
            <a:r>
              <a:rPr lang="en-US" dirty="0"/>
              <a:t>| #</a:t>
            </a:r>
          </a:p>
        </p:txBody>
      </p:sp>
    </p:spTree>
    <p:extLst>
      <p:ext uri="{BB962C8B-B14F-4D97-AF65-F5344CB8AC3E}">
        <p14:creationId xmlns:p14="http://schemas.microsoft.com/office/powerpoint/2010/main" val="26589259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626" r:id="rId1"/>
    <p:sldLayoutId id="2147485041" r:id="rId2"/>
    <p:sldLayoutId id="2147485094" r:id="rId3"/>
    <p:sldLayoutId id="2147485608" r:id="rId4"/>
    <p:sldLayoutId id="2147485021" r:id="rId5"/>
    <p:sldLayoutId id="2147485112" r:id="rId6"/>
    <p:sldLayoutId id="2147485310" r:id="rId7"/>
    <p:sldLayoutId id="2147485311" r:id="rId8"/>
    <p:sldLayoutId id="2147485312" r:id="rId9"/>
    <p:sldLayoutId id="2147485316" r:id="rId10"/>
    <p:sldLayoutId id="2147485324" r:id="rId11"/>
    <p:sldLayoutId id="2147485093" r:id="rId12"/>
    <p:sldLayoutId id="2147485307" r:id="rId13"/>
    <p:sldLayoutId id="2147485308" r:id="rId14"/>
    <p:sldLayoutId id="2147485309" r:id="rId15"/>
    <p:sldLayoutId id="2147485095" r:id="rId16"/>
    <p:sldLayoutId id="2147485115" r:id="rId17"/>
    <p:sldLayoutId id="2147485119" r:id="rId18"/>
    <p:sldLayoutId id="2147485128" r:id="rId19"/>
    <p:sldLayoutId id="2147485305" r:id="rId20"/>
    <p:sldLayoutId id="2147485322" r:id="rId21"/>
    <p:sldLayoutId id="2147485539" r:id="rId22"/>
    <p:sldLayoutId id="2147485542" r:id="rId23"/>
    <p:sldLayoutId id="2147485555" r:id="rId24"/>
    <p:sldLayoutId id="2147485556" r:id="rId25"/>
    <p:sldLayoutId id="2147485558" r:id="rId26"/>
    <p:sldLayoutId id="2147485603" r:id="rId27"/>
    <p:sldLayoutId id="2147485604" r:id="rId28"/>
    <p:sldLayoutId id="2147485605" r:id="rId29"/>
    <p:sldLayoutId id="2147485609" r:id="rId30"/>
    <p:sldLayoutId id="2147485622" r:id="rId31"/>
    <p:sldLayoutId id="2147485623" r:id="rId32"/>
    <p:sldLayoutId id="2147485624" r:id="rId33"/>
    <p:sldLayoutId id="2147485625" r:id="rId34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3600" b="1" i="0" kern="1200">
          <a:solidFill>
            <a:schemeClr val="tx1"/>
          </a:solidFill>
          <a:latin typeface="Hurme Geometric Sans 4 Bold" panose="020B0A00020000000000" pitchFamily="34" charset="0"/>
          <a:ea typeface="+mj-ea"/>
          <a:cs typeface="Cordia New" panose="020B0304020202020204" pitchFamily="34" charset="-34"/>
        </a:defRPr>
      </a:lvl1pPr>
    </p:titleStyle>
    <p:bodyStyle>
      <a:lvl1pPr marL="0" indent="0" algn="l" defTabSz="914377" rtl="0" eaLnBrk="1" latinLnBrk="0" hangingPunct="1">
        <a:lnSpc>
          <a:spcPct val="120000"/>
        </a:lnSpc>
        <a:spcBef>
          <a:spcPts val="600"/>
        </a:spcBef>
        <a:buFont typeface="Arial" panose="020B0604020202020204" pitchFamily="34" charset="0"/>
        <a:buNone/>
        <a:defRPr sz="2150" b="0" i="0" kern="1200">
          <a:solidFill>
            <a:schemeClr val="tx1"/>
          </a:solidFill>
          <a:latin typeface="HurmeGeometricSans1 Regular" panose="020B0500020000000000" pitchFamily="34" charset="0"/>
          <a:ea typeface="+mn-ea"/>
          <a:cs typeface="Cordia New" panose="020B0304020202020204" pitchFamily="34" charset="-34"/>
        </a:defRPr>
      </a:lvl1pPr>
      <a:lvl2pPr marL="457189" indent="0" algn="l" defTabSz="914377" rtl="0" eaLnBrk="1" latinLnBrk="0" hangingPunct="1">
        <a:lnSpc>
          <a:spcPct val="120000"/>
        </a:lnSpc>
        <a:spcBef>
          <a:spcPts val="600"/>
        </a:spcBef>
        <a:buFont typeface="Arial" panose="020B0604020202020204" pitchFamily="34" charset="0"/>
        <a:buNone/>
        <a:defRPr sz="1800" b="0" i="0" kern="1200">
          <a:solidFill>
            <a:schemeClr val="tx1"/>
          </a:solidFill>
          <a:latin typeface="HurmeGeometricSans1 Regular" panose="020B0500020000000000" pitchFamily="34" charset="0"/>
          <a:ea typeface="+mn-ea"/>
          <a:cs typeface="Cordia New" panose="020B0304020202020204" pitchFamily="34" charset="-34"/>
        </a:defRPr>
      </a:lvl2pPr>
      <a:lvl3pPr marL="914377" indent="0" algn="l" defTabSz="914377" rtl="0" eaLnBrk="1" latinLnBrk="0" hangingPunct="1">
        <a:lnSpc>
          <a:spcPct val="120000"/>
        </a:lnSpc>
        <a:spcBef>
          <a:spcPts val="600"/>
        </a:spcBef>
        <a:buFont typeface="Arial" panose="020B0604020202020204" pitchFamily="34" charset="0"/>
        <a:buNone/>
        <a:defRPr sz="1800" b="0" i="0" kern="1200">
          <a:solidFill>
            <a:schemeClr val="tx1"/>
          </a:solidFill>
          <a:latin typeface="HurmeGeometricSans1 Regular" panose="020B0500020000000000" pitchFamily="34" charset="0"/>
          <a:ea typeface="+mn-ea"/>
          <a:cs typeface="Cordia New" panose="020B0304020202020204" pitchFamily="34" charset="-34"/>
        </a:defRPr>
      </a:lvl3pPr>
      <a:lvl4pPr marL="1371566" indent="0" algn="l" defTabSz="914377" rtl="0" eaLnBrk="1" latinLnBrk="0" hangingPunct="1">
        <a:lnSpc>
          <a:spcPct val="120000"/>
        </a:lnSpc>
        <a:spcBef>
          <a:spcPts val="600"/>
        </a:spcBef>
        <a:buFont typeface="Arial" panose="020B0604020202020204" pitchFamily="34" charset="0"/>
        <a:buNone/>
        <a:defRPr sz="1800" b="0" i="0" kern="1200">
          <a:solidFill>
            <a:schemeClr val="tx1"/>
          </a:solidFill>
          <a:latin typeface="HurmeGeometricSans1 Regular" panose="020B0500020000000000" pitchFamily="34" charset="0"/>
          <a:ea typeface="+mn-ea"/>
          <a:cs typeface="Cordia New" panose="020B0304020202020204" pitchFamily="34" charset="-34"/>
        </a:defRPr>
      </a:lvl4pPr>
      <a:lvl5pPr marL="1828754" indent="0" algn="l" defTabSz="914377" rtl="0" eaLnBrk="1" latinLnBrk="0" hangingPunct="1">
        <a:lnSpc>
          <a:spcPct val="120000"/>
        </a:lnSpc>
        <a:spcBef>
          <a:spcPts val="600"/>
        </a:spcBef>
        <a:buFont typeface="Arial" panose="020B0604020202020204" pitchFamily="34" charset="0"/>
        <a:buNone/>
        <a:defRPr sz="1800" b="0" i="0" kern="1200">
          <a:solidFill>
            <a:schemeClr val="tx1"/>
          </a:solidFill>
          <a:latin typeface="HurmeGeometricSans1 Regular" panose="020B0500020000000000" pitchFamily="34" charset="0"/>
          <a:ea typeface="+mn-ea"/>
          <a:cs typeface="Cordia New" panose="020B0304020202020204" pitchFamily="34" charset="-34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60" userDrawn="1">
          <p15:clr>
            <a:srgbClr val="F26B43"/>
          </p15:clr>
        </p15:guide>
        <p15:guide id="2" pos="360" userDrawn="1">
          <p15:clr>
            <a:srgbClr val="F26B43"/>
          </p15:clr>
        </p15:guide>
        <p15:guide id="3" pos="7320" userDrawn="1">
          <p15:clr>
            <a:srgbClr val="F26B43"/>
          </p15:clr>
        </p15:guide>
        <p15:guide id="4" orient="horz" pos="3936" userDrawn="1">
          <p15:clr>
            <a:srgbClr val="F26B43"/>
          </p15:clr>
        </p15:guide>
        <p15:guide id="5" pos="3840" userDrawn="1">
          <p15:clr>
            <a:srgbClr val="F26B43"/>
          </p15:clr>
        </p15:guide>
        <p15:guide id="6" orient="horz" pos="2160" userDrawn="1">
          <p15:clr>
            <a:srgbClr val="F26B43"/>
          </p15:clr>
        </p15:guide>
        <p15:guide id="7" orient="horz" pos="3456" userDrawn="1">
          <p15:clr>
            <a:srgbClr val="F26B43"/>
          </p15:clr>
        </p15:guide>
        <p15:guide id="8" pos="648" userDrawn="1">
          <p15:clr>
            <a:srgbClr val="F26B43"/>
          </p15:clr>
        </p15:guide>
        <p15:guide id="9" pos="7032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59F4B0F-5382-41FA-1A53-D50807C16E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E1BD4C1-65A3-D6F8-6F88-2CDFB42F8CF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1A1CB1-7854-B1A8-A26A-41EC28D9AE0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28051F44-E94E-154E-A25C-B824D75519BE}" type="datetimeFigureOut">
              <a:rPr lang="en-US" smtClean="0"/>
              <a:t>7/15/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6438261-6B5E-40A5-FE53-AF343DA1C15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7C1243A-DCCE-D3C8-112F-BCE047FB2BE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521FE1B9-7722-384C-833E-E7BED104651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88015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611" r:id="rId1"/>
    <p:sldLayoutId id="2147485612" r:id="rId2"/>
    <p:sldLayoutId id="2147485613" r:id="rId3"/>
    <p:sldLayoutId id="2147485614" r:id="rId4"/>
    <p:sldLayoutId id="2147485615" r:id="rId5"/>
    <p:sldLayoutId id="2147485616" r:id="rId6"/>
    <p:sldLayoutId id="2147485617" r:id="rId7"/>
    <p:sldLayoutId id="2147485618" r:id="rId8"/>
    <p:sldLayoutId id="2147485619" r:id="rId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7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hyperlink" Target="https://oxfordinsights.com/ai-readiness/ai-readiness-index/" TargetMode="Externa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image" Target="../media/image28.jpeg"/><Relationship Id="rId7" Type="http://schemas.openxmlformats.org/officeDocument/2006/relationships/image" Target="../media/image32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1.png"/><Relationship Id="rId11" Type="http://schemas.openxmlformats.org/officeDocument/2006/relationships/image" Target="../media/image36.png"/><Relationship Id="rId5" Type="http://schemas.openxmlformats.org/officeDocument/2006/relationships/image" Target="../media/image30.jpeg"/><Relationship Id="rId10" Type="http://schemas.openxmlformats.org/officeDocument/2006/relationships/image" Target="../media/image35.png"/><Relationship Id="rId4" Type="http://schemas.openxmlformats.org/officeDocument/2006/relationships/image" Target="../media/image29.png"/><Relationship Id="rId9" Type="http://schemas.openxmlformats.org/officeDocument/2006/relationships/image" Target="../media/image34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4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jpe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e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7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2.png"/><Relationship Id="rId4" Type="http://schemas.openxmlformats.org/officeDocument/2006/relationships/image" Target="../media/image11.jpe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7.jpeg"/><Relationship Id="rId4" Type="http://schemas.openxmlformats.org/officeDocument/2006/relationships/image" Target="../media/image16.jpe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2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4C7318-F185-21C5-E27F-8CCCA92818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9FDAF92-4561-0DFA-98D6-84B6126238A8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3633D75A-BE2D-484B-925B-BF3693E8768D}" type="slidenum">
              <a:rPr lang="en-US" smtClean="0"/>
              <a:pPr/>
              <a:t>1</a:t>
            </a:fld>
            <a:endParaRPr lang="en-US" dirty="0"/>
          </a:p>
        </p:txBody>
      </p:sp>
      <p:pic>
        <p:nvPicPr>
          <p:cNvPr id="7170" name="Picture 2">
            <a:extLst>
              <a:ext uri="{FF2B5EF4-FFF2-40B4-BE49-F238E27FC236}">
                <a16:creationId xmlns:a16="http://schemas.microsoft.com/office/drawing/2014/main" id="{3C0DF22E-8537-BC75-6F6A-A2CC385FC6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2315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28101A6D-870B-1734-F023-3731585482F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01284" y="464696"/>
            <a:ext cx="5889261" cy="3792512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85537F4B-DE04-2863-F91D-500E56950035}"/>
              </a:ext>
            </a:extLst>
          </p:cNvPr>
          <p:cNvSpPr txBox="1"/>
          <p:nvPr/>
        </p:nvSpPr>
        <p:spPr>
          <a:xfrm>
            <a:off x="766624" y="593368"/>
            <a:ext cx="10917836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400" b="1" dirty="0">
                <a:solidFill>
                  <a:schemeClr val="bg1"/>
                </a:solidFill>
                <a:latin typeface="Hurme Geometric Sans 4 Bold" panose="020B0A00020000000000" pitchFamily="34" charset="0"/>
                <a:ea typeface="+mj-ea"/>
                <a:cs typeface="Cordia New" panose="020B0304020202020204" pitchFamily="34" charset="-34"/>
              </a:rPr>
              <a:t>(Some) Social impacts of </a:t>
            </a:r>
            <a:br>
              <a:rPr lang="en-US" sz="5400" b="1" dirty="0">
                <a:solidFill>
                  <a:schemeClr val="bg1"/>
                </a:solidFill>
                <a:latin typeface="Hurme Geometric Sans 4 Bold" panose="020B0A00020000000000" pitchFamily="34" charset="0"/>
                <a:ea typeface="+mj-ea"/>
                <a:cs typeface="Cordia New" panose="020B0304020202020204" pitchFamily="34" charset="-34"/>
              </a:rPr>
            </a:br>
            <a:r>
              <a:rPr lang="en-US" sz="5400" b="1" dirty="0">
                <a:solidFill>
                  <a:schemeClr val="bg1"/>
                </a:solidFill>
                <a:latin typeface="Hurme Geometric Sans 4 Bold" panose="020B0A00020000000000" pitchFamily="34" charset="0"/>
                <a:ea typeface="+mj-ea"/>
                <a:cs typeface="Cordia New" panose="020B0304020202020204" pitchFamily="34" charset="-34"/>
              </a:rPr>
              <a:t>Artificial Intelligenc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92D75EC-F2FC-B77D-4BD9-207142EBF9EA}"/>
              </a:ext>
            </a:extLst>
          </p:cNvPr>
          <p:cNvSpPr txBox="1"/>
          <p:nvPr/>
        </p:nvSpPr>
        <p:spPr>
          <a:xfrm>
            <a:off x="766624" y="2890391"/>
            <a:ext cx="3655726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>
                <a:solidFill>
                  <a:schemeClr val="bg2">
                    <a:lumMod val="75000"/>
                  </a:schemeClr>
                </a:solidFill>
                <a:latin typeface="Hurme Geometric Sans 4 Bold" panose="020B0A00020000000000" pitchFamily="34" charset="0"/>
                <a:ea typeface="+mj-ea"/>
                <a:cs typeface="Cordia New" panose="020B0304020202020204" pitchFamily="34" charset="-34"/>
              </a:rPr>
              <a:t>Alberto Lumbreras</a:t>
            </a:r>
            <a:br>
              <a:rPr lang="en-US" sz="3200" b="1" dirty="0">
                <a:solidFill>
                  <a:schemeClr val="bg2">
                    <a:lumMod val="75000"/>
                  </a:schemeClr>
                </a:solidFill>
                <a:latin typeface="Hurme Geometric Sans 4 Bold" panose="020B0A00020000000000" pitchFamily="34" charset="0"/>
                <a:ea typeface="+mj-ea"/>
                <a:cs typeface="Cordia New" panose="020B0304020202020204" pitchFamily="34" charset="-34"/>
              </a:rPr>
            </a:br>
            <a:r>
              <a:rPr lang="en-US" sz="3200" b="1" dirty="0">
                <a:solidFill>
                  <a:schemeClr val="bg1">
                    <a:lumMod val="85000"/>
                  </a:schemeClr>
                </a:solidFill>
                <a:latin typeface="Hurme Geometric Sans 4 Bold" panose="020B0A00020000000000" pitchFamily="34" charset="0"/>
                <a:ea typeface="+mj-ea"/>
                <a:cs typeface="Cordia New" panose="020B0304020202020204" pitchFamily="34" charset="-34"/>
              </a:rPr>
              <a:t>AI Researcher</a:t>
            </a:r>
            <a:endParaRPr lang="en-US" sz="1400" b="1" dirty="0">
              <a:solidFill>
                <a:schemeClr val="bg1">
                  <a:lumMod val="85000"/>
                </a:schemeClr>
              </a:solidFill>
              <a:latin typeface="+mj-lt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F0C5A97-3FDA-A3D1-6C58-248B4E6C85CB}"/>
              </a:ext>
            </a:extLst>
          </p:cNvPr>
          <p:cNvSpPr txBox="1"/>
          <p:nvPr/>
        </p:nvSpPr>
        <p:spPr>
          <a:xfrm>
            <a:off x="766624" y="3979297"/>
            <a:ext cx="3342080" cy="695062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400" dirty="0">
                <a:solidFill>
                  <a:schemeClr val="bg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ww.albertolumbreras.net</a:t>
            </a:r>
            <a:br>
              <a:rPr lang="en-US" sz="1400" dirty="0">
                <a:solidFill>
                  <a:schemeClr val="bg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n-US" sz="1400" dirty="0">
                <a:solidFill>
                  <a:schemeClr val="bg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lberto.lumbreras@gmail.com</a:t>
            </a:r>
          </a:p>
        </p:txBody>
      </p:sp>
    </p:spTree>
    <p:extLst>
      <p:ext uri="{BB962C8B-B14F-4D97-AF65-F5344CB8AC3E}">
        <p14:creationId xmlns:p14="http://schemas.microsoft.com/office/powerpoint/2010/main" val="122498174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F4199F0-62B8-1B28-16FE-35507BA3017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>
                <a:latin typeface="Helvetica" pitchFamily="2" charset="0"/>
              </a:rPr>
              <a:t> Alberto Lumbreras </a:t>
            </a:r>
            <a:r>
              <a:rPr lang="en-US" dirty="0"/>
              <a:t>| </a:t>
            </a:r>
            <a:fld id="{3633D75A-BE2D-484B-925B-BF3693E8768D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B43EDAF3-FE63-07DD-2614-63465C99BF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9775" y="571751"/>
            <a:ext cx="10134599" cy="456437"/>
          </a:xfrm>
        </p:spPr>
        <p:txBody>
          <a:bodyPr>
            <a:normAutofit fontScale="90000"/>
          </a:bodyPr>
          <a:lstStyle/>
          <a:p>
            <a:r>
              <a:rPr lang="en-US" dirty="0"/>
              <a:t>Democratic AI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0CFA76F4-FF4C-1560-648C-E36E1B0BA30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28701" y="1028188"/>
            <a:ext cx="10135716" cy="354045"/>
          </a:xfrm>
        </p:spPr>
        <p:txBody>
          <a:bodyPr>
            <a:normAutofit lnSpcReduction="10000"/>
          </a:bodyPr>
          <a:lstStyle/>
          <a:p>
            <a:r>
              <a:rPr lang="en-US" dirty="0"/>
              <a:t>Why (2): To prevent augmenting the global north-south divide 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02C698B9-A9D2-1B7C-2D5E-D688287002BB}"/>
              </a:ext>
            </a:extLst>
          </p:cNvPr>
          <p:cNvSpPr txBox="1">
            <a:spLocks/>
          </p:cNvSpPr>
          <p:nvPr/>
        </p:nvSpPr>
        <p:spPr>
          <a:xfrm>
            <a:off x="2382939" y="5622010"/>
            <a:ext cx="8578286" cy="2808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0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Cordia New" panose="020B0304020202020204" pitchFamily="34" charset="-34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Cordia New" panose="020B0304020202020204" pitchFamily="34" charset="-34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Cordia New" panose="020B0304020202020204" pitchFamily="34" charset="-34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Cordia New" panose="020B0304020202020204" pitchFamily="34" charset="-34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Cordia New" panose="020B0304020202020204" pitchFamily="34" charset="-34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Source: </a:t>
            </a:r>
            <a:r>
              <a:rPr lang="en-US" sz="1200" dirty="0">
                <a:solidFill>
                  <a:srgbClr val="C00000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oxfordinsights.com/ai-readiness/ai-readiness-index/</a:t>
            </a:r>
            <a:endParaRPr lang="en-US" sz="1200" dirty="0">
              <a:solidFill>
                <a:srgbClr val="C00000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316741B-F170-376A-A008-F821B5023A0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93862" y="1798643"/>
            <a:ext cx="7204276" cy="3687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016176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D4EE08C-D9DF-3C01-0FFD-68EC625EBB5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>
                <a:latin typeface="Helvetica" pitchFamily="2" charset="0"/>
              </a:rPr>
              <a:t> Alberto Lumbreras </a:t>
            </a:r>
            <a:r>
              <a:rPr lang="en-US" dirty="0"/>
              <a:t>| </a:t>
            </a:r>
            <a:fld id="{3633D75A-BE2D-484B-925B-BF3693E8768D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C4DAA560-3783-6613-EECD-EB10FDBACB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9775" y="571751"/>
            <a:ext cx="10134599" cy="456437"/>
          </a:xfrm>
        </p:spPr>
        <p:txBody>
          <a:bodyPr>
            <a:normAutofit fontScale="90000"/>
          </a:bodyPr>
          <a:lstStyle/>
          <a:p>
            <a:r>
              <a:rPr lang="en-US" dirty="0"/>
              <a:t>Democratic AI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0F7328FB-7F72-6E8D-7F27-934B7075B3A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28701" y="1028188"/>
            <a:ext cx="10135716" cy="354045"/>
          </a:xfrm>
        </p:spPr>
        <p:txBody>
          <a:bodyPr>
            <a:normAutofit lnSpcReduction="10000"/>
          </a:bodyPr>
          <a:lstStyle/>
          <a:p>
            <a:r>
              <a:rPr lang="en-US" dirty="0"/>
              <a:t>Why (3): To avoid dependencies on GAFAM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60904B1C-737F-207E-5BD8-D3930FA4168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028701" y="1821070"/>
            <a:ext cx="10134598" cy="3665330"/>
          </a:xfrm>
        </p:spPr>
        <p:txBody>
          <a:bodyPr>
            <a:normAutofit/>
          </a:bodyPr>
          <a:lstStyle/>
          <a:p>
            <a:endParaRPr lang="en-US" sz="2200" dirty="0"/>
          </a:p>
          <a:p>
            <a:endParaRPr lang="en-US" dirty="0"/>
          </a:p>
        </p:txBody>
      </p:sp>
      <p:pic>
        <p:nvPicPr>
          <p:cNvPr id="10" name="Picture 9" descr="A graph with green line and numbers&#10;&#10;Description automatically generated">
            <a:extLst>
              <a:ext uri="{FF2B5EF4-FFF2-40B4-BE49-F238E27FC236}">
                <a16:creationId xmlns:a16="http://schemas.microsoft.com/office/drawing/2014/main" id="{E1EACCBB-F9F1-D4A1-3C73-261E5539897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82650" y="1838670"/>
            <a:ext cx="5841420" cy="3485353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56C1256C-625E-C4DF-67FF-49D5C3AD82F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36014" y="1931054"/>
            <a:ext cx="5639802" cy="1524271"/>
          </a:xfrm>
          <a:custGeom>
            <a:avLst/>
            <a:gdLst>
              <a:gd name="connsiteX0" fmla="*/ 0 w 5639802"/>
              <a:gd name="connsiteY0" fmla="*/ 0 h 1524271"/>
              <a:gd name="connsiteX1" fmla="*/ 457451 w 5639802"/>
              <a:gd name="connsiteY1" fmla="*/ 0 h 1524271"/>
              <a:gd name="connsiteX2" fmla="*/ 1196891 w 5639802"/>
              <a:gd name="connsiteY2" fmla="*/ 0 h 1524271"/>
              <a:gd name="connsiteX3" fmla="*/ 1879934 w 5639802"/>
              <a:gd name="connsiteY3" fmla="*/ 0 h 1524271"/>
              <a:gd name="connsiteX4" fmla="*/ 2337385 w 5639802"/>
              <a:gd name="connsiteY4" fmla="*/ 0 h 1524271"/>
              <a:gd name="connsiteX5" fmla="*/ 2907631 w 5639802"/>
              <a:gd name="connsiteY5" fmla="*/ 0 h 1524271"/>
              <a:gd name="connsiteX6" fmla="*/ 3647072 w 5639802"/>
              <a:gd name="connsiteY6" fmla="*/ 0 h 1524271"/>
              <a:gd name="connsiteX7" fmla="*/ 4273717 w 5639802"/>
              <a:gd name="connsiteY7" fmla="*/ 0 h 1524271"/>
              <a:gd name="connsiteX8" fmla="*/ 4956759 w 5639802"/>
              <a:gd name="connsiteY8" fmla="*/ 0 h 1524271"/>
              <a:gd name="connsiteX9" fmla="*/ 5639802 w 5639802"/>
              <a:gd name="connsiteY9" fmla="*/ 0 h 1524271"/>
              <a:gd name="connsiteX10" fmla="*/ 5639802 w 5639802"/>
              <a:gd name="connsiteY10" fmla="*/ 508090 h 1524271"/>
              <a:gd name="connsiteX11" fmla="*/ 5639802 w 5639802"/>
              <a:gd name="connsiteY11" fmla="*/ 1031423 h 1524271"/>
              <a:gd name="connsiteX12" fmla="*/ 5639802 w 5639802"/>
              <a:gd name="connsiteY12" fmla="*/ 1524271 h 1524271"/>
              <a:gd name="connsiteX13" fmla="*/ 5182351 w 5639802"/>
              <a:gd name="connsiteY13" fmla="*/ 1524271 h 1524271"/>
              <a:gd name="connsiteX14" fmla="*/ 4724901 w 5639802"/>
              <a:gd name="connsiteY14" fmla="*/ 1524271 h 1524271"/>
              <a:gd name="connsiteX15" fmla="*/ 4041858 w 5639802"/>
              <a:gd name="connsiteY15" fmla="*/ 1524271 h 1524271"/>
              <a:gd name="connsiteX16" fmla="*/ 3584407 w 5639802"/>
              <a:gd name="connsiteY16" fmla="*/ 1524271 h 1524271"/>
              <a:gd name="connsiteX17" fmla="*/ 2957763 w 5639802"/>
              <a:gd name="connsiteY17" fmla="*/ 1524271 h 1524271"/>
              <a:gd name="connsiteX18" fmla="*/ 2443914 w 5639802"/>
              <a:gd name="connsiteY18" fmla="*/ 1524271 h 1524271"/>
              <a:gd name="connsiteX19" fmla="*/ 1817270 w 5639802"/>
              <a:gd name="connsiteY19" fmla="*/ 1524271 h 1524271"/>
              <a:gd name="connsiteX20" fmla="*/ 1190625 w 5639802"/>
              <a:gd name="connsiteY20" fmla="*/ 1524271 h 1524271"/>
              <a:gd name="connsiteX21" fmla="*/ 563980 w 5639802"/>
              <a:gd name="connsiteY21" fmla="*/ 1524271 h 1524271"/>
              <a:gd name="connsiteX22" fmla="*/ 0 w 5639802"/>
              <a:gd name="connsiteY22" fmla="*/ 1524271 h 1524271"/>
              <a:gd name="connsiteX23" fmla="*/ 0 w 5639802"/>
              <a:gd name="connsiteY23" fmla="*/ 1031423 h 1524271"/>
              <a:gd name="connsiteX24" fmla="*/ 0 w 5639802"/>
              <a:gd name="connsiteY24" fmla="*/ 523333 h 1524271"/>
              <a:gd name="connsiteX25" fmla="*/ 0 w 5639802"/>
              <a:gd name="connsiteY25" fmla="*/ 0 h 15242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5639802" h="1524271" fill="none" extrusionOk="0">
                <a:moveTo>
                  <a:pt x="0" y="0"/>
                </a:moveTo>
                <a:cubicBezTo>
                  <a:pt x="122256" y="-4797"/>
                  <a:pt x="229350" y="-15079"/>
                  <a:pt x="457451" y="0"/>
                </a:cubicBezTo>
                <a:cubicBezTo>
                  <a:pt x="685552" y="15079"/>
                  <a:pt x="933680" y="16501"/>
                  <a:pt x="1196891" y="0"/>
                </a:cubicBezTo>
                <a:cubicBezTo>
                  <a:pt x="1460102" y="-16501"/>
                  <a:pt x="1670988" y="32081"/>
                  <a:pt x="1879934" y="0"/>
                </a:cubicBezTo>
                <a:cubicBezTo>
                  <a:pt x="2088880" y="-32081"/>
                  <a:pt x="2134624" y="17876"/>
                  <a:pt x="2337385" y="0"/>
                </a:cubicBezTo>
                <a:cubicBezTo>
                  <a:pt x="2540146" y="-17876"/>
                  <a:pt x="2758154" y="13171"/>
                  <a:pt x="2907631" y="0"/>
                </a:cubicBezTo>
                <a:cubicBezTo>
                  <a:pt x="3057108" y="-13171"/>
                  <a:pt x="3483618" y="-21367"/>
                  <a:pt x="3647072" y="0"/>
                </a:cubicBezTo>
                <a:cubicBezTo>
                  <a:pt x="3810526" y="21367"/>
                  <a:pt x="4128864" y="-7206"/>
                  <a:pt x="4273717" y="0"/>
                </a:cubicBezTo>
                <a:cubicBezTo>
                  <a:pt x="4418571" y="7206"/>
                  <a:pt x="4802765" y="1368"/>
                  <a:pt x="4956759" y="0"/>
                </a:cubicBezTo>
                <a:cubicBezTo>
                  <a:pt x="5110753" y="-1368"/>
                  <a:pt x="5383172" y="-16479"/>
                  <a:pt x="5639802" y="0"/>
                </a:cubicBezTo>
                <a:cubicBezTo>
                  <a:pt x="5623496" y="107223"/>
                  <a:pt x="5626056" y="330930"/>
                  <a:pt x="5639802" y="508090"/>
                </a:cubicBezTo>
                <a:cubicBezTo>
                  <a:pt x="5653549" y="685250"/>
                  <a:pt x="5654772" y="894872"/>
                  <a:pt x="5639802" y="1031423"/>
                </a:cubicBezTo>
                <a:cubicBezTo>
                  <a:pt x="5624832" y="1167974"/>
                  <a:pt x="5628693" y="1407566"/>
                  <a:pt x="5639802" y="1524271"/>
                </a:cubicBezTo>
                <a:cubicBezTo>
                  <a:pt x="5425074" y="1532024"/>
                  <a:pt x="5410394" y="1515927"/>
                  <a:pt x="5182351" y="1524271"/>
                </a:cubicBezTo>
                <a:cubicBezTo>
                  <a:pt x="4954308" y="1532615"/>
                  <a:pt x="4823140" y="1507698"/>
                  <a:pt x="4724901" y="1524271"/>
                </a:cubicBezTo>
                <a:cubicBezTo>
                  <a:pt x="4626662" y="1540845"/>
                  <a:pt x="4339251" y="1558114"/>
                  <a:pt x="4041858" y="1524271"/>
                </a:cubicBezTo>
                <a:cubicBezTo>
                  <a:pt x="3744465" y="1490428"/>
                  <a:pt x="3687201" y="1527999"/>
                  <a:pt x="3584407" y="1524271"/>
                </a:cubicBezTo>
                <a:cubicBezTo>
                  <a:pt x="3481613" y="1520543"/>
                  <a:pt x="3246731" y="1502332"/>
                  <a:pt x="2957763" y="1524271"/>
                </a:cubicBezTo>
                <a:cubicBezTo>
                  <a:pt x="2668795" y="1546210"/>
                  <a:pt x="2691458" y="1514068"/>
                  <a:pt x="2443914" y="1524271"/>
                </a:cubicBezTo>
                <a:cubicBezTo>
                  <a:pt x="2196370" y="1534474"/>
                  <a:pt x="2065073" y="1545058"/>
                  <a:pt x="1817270" y="1524271"/>
                </a:cubicBezTo>
                <a:cubicBezTo>
                  <a:pt x="1569467" y="1503484"/>
                  <a:pt x="1356416" y="1523412"/>
                  <a:pt x="1190625" y="1524271"/>
                </a:cubicBezTo>
                <a:cubicBezTo>
                  <a:pt x="1024835" y="1525130"/>
                  <a:pt x="825507" y="1519070"/>
                  <a:pt x="563980" y="1524271"/>
                </a:cubicBezTo>
                <a:cubicBezTo>
                  <a:pt x="302454" y="1529472"/>
                  <a:pt x="184413" y="1504982"/>
                  <a:pt x="0" y="1524271"/>
                </a:cubicBezTo>
                <a:cubicBezTo>
                  <a:pt x="18438" y="1409572"/>
                  <a:pt x="21260" y="1147990"/>
                  <a:pt x="0" y="1031423"/>
                </a:cubicBezTo>
                <a:cubicBezTo>
                  <a:pt x="-21260" y="914856"/>
                  <a:pt x="194" y="645439"/>
                  <a:pt x="0" y="523333"/>
                </a:cubicBezTo>
                <a:cubicBezTo>
                  <a:pt x="-194" y="401227"/>
                  <a:pt x="5361" y="183721"/>
                  <a:pt x="0" y="0"/>
                </a:cubicBezTo>
                <a:close/>
              </a:path>
              <a:path w="5639802" h="1524271" stroke="0" extrusionOk="0">
                <a:moveTo>
                  <a:pt x="0" y="0"/>
                </a:moveTo>
                <a:cubicBezTo>
                  <a:pt x="211990" y="19130"/>
                  <a:pt x="431765" y="27874"/>
                  <a:pt x="570247" y="0"/>
                </a:cubicBezTo>
                <a:cubicBezTo>
                  <a:pt x="708729" y="-27874"/>
                  <a:pt x="907287" y="-439"/>
                  <a:pt x="1027697" y="0"/>
                </a:cubicBezTo>
                <a:cubicBezTo>
                  <a:pt x="1148107" y="439"/>
                  <a:pt x="1463048" y="1930"/>
                  <a:pt x="1767138" y="0"/>
                </a:cubicBezTo>
                <a:cubicBezTo>
                  <a:pt x="2071228" y="-1930"/>
                  <a:pt x="2073023" y="-2318"/>
                  <a:pt x="2337385" y="0"/>
                </a:cubicBezTo>
                <a:cubicBezTo>
                  <a:pt x="2601747" y="2318"/>
                  <a:pt x="2683472" y="27220"/>
                  <a:pt x="2907631" y="0"/>
                </a:cubicBezTo>
                <a:cubicBezTo>
                  <a:pt x="3131790" y="-27220"/>
                  <a:pt x="3477270" y="-2644"/>
                  <a:pt x="3647072" y="0"/>
                </a:cubicBezTo>
                <a:cubicBezTo>
                  <a:pt x="3816874" y="2644"/>
                  <a:pt x="3955246" y="-11916"/>
                  <a:pt x="4160921" y="0"/>
                </a:cubicBezTo>
                <a:cubicBezTo>
                  <a:pt x="4366596" y="11916"/>
                  <a:pt x="4545969" y="-26517"/>
                  <a:pt x="4900361" y="0"/>
                </a:cubicBezTo>
                <a:cubicBezTo>
                  <a:pt x="5254753" y="26517"/>
                  <a:pt x="5344158" y="-12368"/>
                  <a:pt x="5639802" y="0"/>
                </a:cubicBezTo>
                <a:cubicBezTo>
                  <a:pt x="5620572" y="243886"/>
                  <a:pt x="5641545" y="383432"/>
                  <a:pt x="5639802" y="508090"/>
                </a:cubicBezTo>
                <a:cubicBezTo>
                  <a:pt x="5638060" y="632748"/>
                  <a:pt x="5658390" y="789386"/>
                  <a:pt x="5639802" y="1016181"/>
                </a:cubicBezTo>
                <a:cubicBezTo>
                  <a:pt x="5621214" y="1242976"/>
                  <a:pt x="5624636" y="1356352"/>
                  <a:pt x="5639802" y="1524271"/>
                </a:cubicBezTo>
                <a:cubicBezTo>
                  <a:pt x="5479047" y="1506419"/>
                  <a:pt x="5310127" y="1520118"/>
                  <a:pt x="5182351" y="1524271"/>
                </a:cubicBezTo>
                <a:cubicBezTo>
                  <a:pt x="5054575" y="1528424"/>
                  <a:pt x="4728542" y="1498082"/>
                  <a:pt x="4442911" y="1524271"/>
                </a:cubicBezTo>
                <a:cubicBezTo>
                  <a:pt x="4157280" y="1550460"/>
                  <a:pt x="4129567" y="1500914"/>
                  <a:pt x="3929062" y="1524271"/>
                </a:cubicBezTo>
                <a:cubicBezTo>
                  <a:pt x="3728557" y="1547628"/>
                  <a:pt x="3611186" y="1538127"/>
                  <a:pt x="3302417" y="1524271"/>
                </a:cubicBezTo>
                <a:cubicBezTo>
                  <a:pt x="2993649" y="1510415"/>
                  <a:pt x="2877114" y="1496459"/>
                  <a:pt x="2562977" y="1524271"/>
                </a:cubicBezTo>
                <a:cubicBezTo>
                  <a:pt x="2248840" y="1552083"/>
                  <a:pt x="2158406" y="1518288"/>
                  <a:pt x="1936332" y="1524271"/>
                </a:cubicBezTo>
                <a:cubicBezTo>
                  <a:pt x="1714258" y="1530254"/>
                  <a:pt x="1636857" y="1522449"/>
                  <a:pt x="1478881" y="1524271"/>
                </a:cubicBezTo>
                <a:cubicBezTo>
                  <a:pt x="1320905" y="1526093"/>
                  <a:pt x="1154941" y="1541152"/>
                  <a:pt x="965033" y="1524271"/>
                </a:cubicBezTo>
                <a:cubicBezTo>
                  <a:pt x="775125" y="1507390"/>
                  <a:pt x="428252" y="1566529"/>
                  <a:pt x="0" y="1524271"/>
                </a:cubicBezTo>
                <a:cubicBezTo>
                  <a:pt x="2232" y="1345041"/>
                  <a:pt x="24546" y="1151225"/>
                  <a:pt x="0" y="1016181"/>
                </a:cubicBezTo>
                <a:cubicBezTo>
                  <a:pt x="-24546" y="881137"/>
                  <a:pt x="12576" y="728475"/>
                  <a:pt x="0" y="508090"/>
                </a:cubicBezTo>
                <a:cubicBezTo>
                  <a:pt x="-12576" y="287705"/>
                  <a:pt x="23322" y="224833"/>
                  <a:pt x="0" y="0"/>
                </a:cubicBezTo>
                <a:close/>
              </a:path>
            </a:pathLst>
          </a:custGeom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9F38B067-F10C-6693-A8C9-16150E9C7333}"/>
              </a:ext>
            </a:extLst>
          </p:cNvPr>
          <p:cNvSpPr txBox="1"/>
          <p:nvPr/>
        </p:nvSpPr>
        <p:spPr>
          <a:xfrm>
            <a:off x="7691862" y="3665555"/>
            <a:ext cx="12095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>
                <a:latin typeface="Helvetica" pitchFamily="2" charset="0"/>
              </a:rPr>
              <a:t>Nvidia stock</a:t>
            </a:r>
            <a:endParaRPr lang="en-US" sz="1400" dirty="0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D37DBAE3-8DEE-6352-FFBD-5039EC03F830}"/>
              </a:ext>
            </a:extLst>
          </p:cNvPr>
          <p:cNvSpPr txBox="1">
            <a:spLocks/>
          </p:cNvSpPr>
          <p:nvPr/>
        </p:nvSpPr>
        <p:spPr>
          <a:xfrm>
            <a:off x="629357" y="2247526"/>
            <a:ext cx="4852315" cy="253518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2133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Cordia New" panose="020B0304020202020204" pitchFamily="34" charset="-34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Cordia New" panose="020B0304020202020204" pitchFamily="34" charset="-34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Cordia New" panose="020B0304020202020204" pitchFamily="34" charset="-34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Cordia New" panose="020B0304020202020204" pitchFamily="34" charset="-34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Cordia New" panose="020B0304020202020204" pitchFamily="34" charset="-34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000" dirty="0"/>
              <a:t>Meta has </a:t>
            </a:r>
            <a:r>
              <a:rPr lang="en-US" sz="2000" b="1" dirty="0"/>
              <a:t>x500 GPUs than the biggest French computing cluster</a:t>
            </a:r>
            <a:r>
              <a:rPr lang="en-US" sz="2000" dirty="0"/>
              <a:t> Jean Zay</a:t>
            </a:r>
            <a:br>
              <a:rPr lang="en-US" sz="2000" dirty="0"/>
            </a:br>
            <a:br>
              <a:rPr lang="en-US" sz="2000" dirty="0"/>
            </a:br>
            <a:r>
              <a:rPr lang="en-US" sz="2000" dirty="0"/>
              <a:t>GPU shortage. </a:t>
            </a:r>
            <a:br>
              <a:rPr lang="en-US" sz="2000" dirty="0"/>
            </a:br>
            <a:r>
              <a:rPr lang="en-US" sz="2000" b="1" dirty="0"/>
              <a:t>NVIDIA denies orders </a:t>
            </a:r>
            <a:r>
              <a:rPr lang="en-US" sz="2000" dirty="0"/>
              <a:t>from smaller companies since it privileges GAFAM</a:t>
            </a:r>
          </a:p>
          <a:p>
            <a:pPr algn="ctr"/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112887606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D312B3A-AFF8-CB68-BAF8-CAA52573770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>
                <a:latin typeface="Helvetica" pitchFamily="2" charset="0"/>
              </a:rPr>
              <a:t> Alberto Lumbreras </a:t>
            </a:r>
            <a:r>
              <a:rPr lang="en-US" dirty="0"/>
              <a:t>| </a:t>
            </a:r>
            <a:fld id="{3633D75A-BE2D-484B-925B-BF3693E8768D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E2FAE972-5D57-6734-B1AB-455FC8A56162}"/>
              </a:ext>
            </a:extLst>
          </p:cNvPr>
          <p:cNvSpPr/>
          <p:nvPr/>
        </p:nvSpPr>
        <p:spPr>
          <a:xfrm>
            <a:off x="5077664" y="2191269"/>
            <a:ext cx="5729468" cy="1968571"/>
          </a:xfrm>
          <a:prstGeom prst="roundRect">
            <a:avLst>
              <a:gd name="adj" fmla="val 12054"/>
            </a:avLst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FR">
              <a:solidFill>
                <a:schemeClr val="tx1"/>
              </a:solidFill>
              <a:latin typeface="HurmeGeometricSans1 Regular" panose="020B0500020000000000" pitchFamily="34" charset="0"/>
              <a:cs typeface="Cordia New" panose="020B0304020202020204" pitchFamily="34" charset="-34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15BD0FEC-F922-461A-AE95-3C0A09B8D0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9775" y="571751"/>
            <a:ext cx="10134599" cy="456437"/>
          </a:xfrm>
        </p:spPr>
        <p:txBody>
          <a:bodyPr>
            <a:normAutofit fontScale="90000"/>
          </a:bodyPr>
          <a:lstStyle/>
          <a:p>
            <a:r>
              <a:rPr lang="en-US" dirty="0"/>
              <a:t>Democratic AI</a:t>
            </a:r>
            <a:endParaRPr lang="en-FR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A82EAB3A-6D70-B05C-9840-479594498E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28701" y="1028188"/>
            <a:ext cx="8624585" cy="354045"/>
          </a:xfrm>
        </p:spPr>
        <p:txBody>
          <a:bodyPr>
            <a:normAutofit lnSpcReduction="10000"/>
          </a:bodyPr>
          <a:lstStyle/>
          <a:p>
            <a:r>
              <a:rPr lang="en-US" dirty="0"/>
              <a:t>How (1): A public cloud service</a:t>
            </a:r>
            <a:endParaRPr lang="en-FR"/>
          </a:p>
        </p:txBody>
      </p:sp>
      <p:pic>
        <p:nvPicPr>
          <p:cNvPr id="10" name="Picture 2" descr="NVIDIA Launches The GeForce GTX 965M Mobility Chip - Features GM204 GPU  With Half The Cores Of A GTX 980 Graphics Card">
            <a:extLst>
              <a:ext uri="{FF2B5EF4-FFF2-40B4-BE49-F238E27FC236}">
                <a16:creationId xmlns:a16="http://schemas.microsoft.com/office/drawing/2014/main" id="{007BB0C5-CEC0-7BAD-6E64-7C17627758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28156" y="43883"/>
            <a:ext cx="2963844" cy="17190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8039D5E6-EAA7-B769-59DD-A336A4C851D0}"/>
              </a:ext>
            </a:extLst>
          </p:cNvPr>
          <p:cNvSpPr txBox="1"/>
          <p:nvPr/>
        </p:nvSpPr>
        <p:spPr>
          <a:xfrm>
            <a:off x="5858668" y="2268874"/>
            <a:ext cx="1080799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dirty="0">
                <a:solidFill>
                  <a:schemeClr val="bg1">
                    <a:lumMod val="50000"/>
                  </a:schemeClr>
                </a:solidFill>
                <a:latin typeface="Helvetica" pitchFamily="2" charset="0"/>
              </a:rPr>
              <a:t>Jean Zay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77D09E9-F60B-DEA9-03AA-A7E04B625521}"/>
              </a:ext>
            </a:extLst>
          </p:cNvPr>
          <p:cNvSpPr txBox="1"/>
          <p:nvPr/>
        </p:nvSpPr>
        <p:spPr>
          <a:xfrm>
            <a:off x="8427796" y="2280440"/>
            <a:ext cx="1538489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dirty="0">
                <a:solidFill>
                  <a:schemeClr val="bg1">
                    <a:lumMod val="50000"/>
                  </a:schemeClr>
                </a:solidFill>
                <a:latin typeface="Helvetica" pitchFamily="2" charset="0"/>
              </a:rPr>
              <a:t>Mare Nostrum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1BD02FF-11E1-ECF3-3F53-B1BEA37AB885}"/>
              </a:ext>
            </a:extLst>
          </p:cNvPr>
          <p:cNvSpPr txBox="1"/>
          <p:nvPr/>
        </p:nvSpPr>
        <p:spPr>
          <a:xfrm>
            <a:off x="4947971" y="4690319"/>
            <a:ext cx="640775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latin typeface="Helvetica" pitchFamily="2" charset="0"/>
              </a:rPr>
              <a:t>What about a </a:t>
            </a:r>
            <a:r>
              <a:rPr lang="en-US" b="1" dirty="0">
                <a:latin typeface="Helvetica" pitchFamily="2" charset="0"/>
              </a:rPr>
              <a:t>public</a:t>
            </a:r>
            <a:r>
              <a:rPr lang="en-US" dirty="0">
                <a:latin typeface="Helvetica" pitchFamily="2" charset="0"/>
              </a:rPr>
              <a:t> </a:t>
            </a:r>
            <a:r>
              <a:rPr lang="en-US" b="1" dirty="0">
                <a:latin typeface="Helvetica" pitchFamily="2" charset="0"/>
              </a:rPr>
              <a:t>European cloud computing </a:t>
            </a:r>
            <a:r>
              <a:rPr lang="en-US" dirty="0">
                <a:latin typeface="Helvetica" pitchFamily="2" charset="0"/>
              </a:rPr>
              <a:t>service?</a:t>
            </a:r>
            <a:endParaRPr lang="en-US" dirty="0">
              <a:solidFill>
                <a:schemeClr val="bg1">
                  <a:lumMod val="50000"/>
                </a:schemeClr>
              </a:solidFill>
              <a:latin typeface="Helvetica" pitchFamily="2" charset="0"/>
            </a:endParaRPr>
          </a:p>
        </p:txBody>
      </p:sp>
      <p:pic>
        <p:nvPicPr>
          <p:cNvPr id="14" name="Picture 4" descr="Jean Zay (supercalculateur) — Wikipédia">
            <a:extLst>
              <a:ext uri="{FF2B5EF4-FFF2-40B4-BE49-F238E27FC236}">
                <a16:creationId xmlns:a16="http://schemas.microsoft.com/office/drawing/2014/main" id="{92AE49B7-7BAD-2C32-A5E0-5C13C87BC6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05006" y="2649629"/>
            <a:ext cx="2132173" cy="1419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8" descr="Así es MareNostrum 5, el nuevo ordenador que llegará a Barcelona">
            <a:extLst>
              <a:ext uri="{FF2B5EF4-FFF2-40B4-BE49-F238E27FC236}">
                <a16:creationId xmlns:a16="http://schemas.microsoft.com/office/drawing/2014/main" id="{09730A66-F41E-BF04-908C-7423649917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48761" y="2638147"/>
            <a:ext cx="2183424" cy="1228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10" descr="Amazon Web Services Review | PCMag">
            <a:extLst>
              <a:ext uri="{FF2B5EF4-FFF2-40B4-BE49-F238E27FC236}">
                <a16:creationId xmlns:a16="http://schemas.microsoft.com/office/drawing/2014/main" id="{C935B9BD-FE8A-640B-928A-94F3794A60F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75794" y="2123947"/>
            <a:ext cx="1562231" cy="8800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12" descr="Microsoft Azure">
            <a:extLst>
              <a:ext uri="{FF2B5EF4-FFF2-40B4-BE49-F238E27FC236}">
                <a16:creationId xmlns:a16="http://schemas.microsoft.com/office/drawing/2014/main" id="{34CFEB57-95AA-EE9C-9546-9ABC7BD4D18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00079" y="2898604"/>
            <a:ext cx="1429664" cy="8957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14" descr="Google Cloud - Intelligence artificielle">
            <a:extLst>
              <a:ext uri="{FF2B5EF4-FFF2-40B4-BE49-F238E27FC236}">
                <a16:creationId xmlns:a16="http://schemas.microsoft.com/office/drawing/2014/main" id="{FFA73CC5-8660-0725-B15E-FD771EFFAC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99512" y="3936722"/>
            <a:ext cx="1492957" cy="895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16">
            <a:extLst>
              <a:ext uri="{FF2B5EF4-FFF2-40B4-BE49-F238E27FC236}">
                <a16:creationId xmlns:a16="http://schemas.microsoft.com/office/drawing/2014/main" id="{4E576AAF-B9E0-66A8-F41D-698A68FABAD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85497" y="5302476"/>
            <a:ext cx="1168561" cy="6144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20">
            <a:extLst>
              <a:ext uri="{FF2B5EF4-FFF2-40B4-BE49-F238E27FC236}">
                <a16:creationId xmlns:a16="http://schemas.microsoft.com/office/drawing/2014/main" id="{3008B1B6-0DD2-B550-F7BA-C3D98E2CD7A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44031" y="5292316"/>
            <a:ext cx="1168561" cy="7776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22" descr="Flag of France - Wikipedia">
            <a:extLst>
              <a:ext uri="{FF2B5EF4-FFF2-40B4-BE49-F238E27FC236}">
                <a16:creationId xmlns:a16="http://schemas.microsoft.com/office/drawing/2014/main" id="{D58745E7-A601-A73B-31C8-E52D93CE0F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66425" y="3951339"/>
            <a:ext cx="722338" cy="4815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24">
            <a:extLst>
              <a:ext uri="{FF2B5EF4-FFF2-40B4-BE49-F238E27FC236}">
                <a16:creationId xmlns:a16="http://schemas.microsoft.com/office/drawing/2014/main" id="{BA887EA5-1FED-B118-A250-5BC68A7A297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99861" y="3980586"/>
            <a:ext cx="722338" cy="4806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AF3BF43F-DA31-36C0-D159-AF96C8862072}"/>
              </a:ext>
            </a:extLst>
          </p:cNvPr>
          <p:cNvSpPr txBox="1">
            <a:spLocks/>
          </p:cNvSpPr>
          <p:nvPr/>
        </p:nvSpPr>
        <p:spPr>
          <a:xfrm>
            <a:off x="1546375" y="1555524"/>
            <a:ext cx="8624585" cy="35404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2133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Cordia New" panose="020B0304020202020204" pitchFamily="34" charset="-34"/>
              </a:defRPr>
            </a:lvl1pPr>
            <a:lvl2pPr marL="457189" indent="0" algn="ctr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1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Cordia New" panose="020B0304020202020204" pitchFamily="34" charset="-34"/>
              </a:defRPr>
            </a:lvl2pPr>
            <a:lvl3pPr marL="914377" indent="0" algn="ctr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1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Cordia New" panose="020B0304020202020204" pitchFamily="34" charset="-34"/>
              </a:defRPr>
            </a:lvl3pPr>
            <a:lvl4pPr marL="1371566" indent="0" algn="ctr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1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Cordia New" panose="020B0304020202020204" pitchFamily="34" charset="-34"/>
              </a:defRPr>
            </a:lvl4pPr>
            <a:lvl5pPr marL="1828754" indent="0" algn="ctr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1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Cordia New" panose="020B0304020202020204" pitchFamily="34" charset="-34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100" dirty="0"/>
              <a:t>European actors either </a:t>
            </a:r>
            <a:r>
              <a:rPr lang="en-US" sz="2100" b="1" dirty="0"/>
              <a:t>rent</a:t>
            </a:r>
            <a:r>
              <a:rPr lang="en-US" sz="2100" dirty="0"/>
              <a:t> American cloud services or </a:t>
            </a:r>
            <a:r>
              <a:rPr lang="en-US" sz="2100" b="1" dirty="0"/>
              <a:t>buy</a:t>
            </a:r>
            <a:r>
              <a:rPr lang="en-US" sz="2100" dirty="0"/>
              <a:t> GPUs (no stock)</a:t>
            </a:r>
            <a:endParaRPr lang="en-FR" sz="2100"/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B76D0042-C82F-2E11-BA4A-F2BDC52A85E9}"/>
              </a:ext>
            </a:extLst>
          </p:cNvPr>
          <p:cNvCxnSpPr/>
          <p:nvPr/>
        </p:nvCxnSpPr>
        <p:spPr>
          <a:xfrm>
            <a:off x="4155311" y="2280440"/>
            <a:ext cx="0" cy="3636473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3237178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4CBEE85-A7DD-710C-0B8B-9E15C80978D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>
                <a:latin typeface="Helvetica" pitchFamily="2" charset="0"/>
              </a:rPr>
              <a:t> Alberto Lumbreras </a:t>
            </a:r>
            <a:r>
              <a:rPr lang="en-US" dirty="0"/>
              <a:t>| </a:t>
            </a:r>
            <a:fld id="{3633D75A-BE2D-484B-925B-BF3693E8768D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8A7414A-20FD-D3C4-9A7E-B081B70688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9775" y="571751"/>
            <a:ext cx="10134599" cy="456437"/>
          </a:xfrm>
        </p:spPr>
        <p:txBody>
          <a:bodyPr>
            <a:normAutofit fontScale="90000"/>
          </a:bodyPr>
          <a:lstStyle/>
          <a:p>
            <a:r>
              <a:rPr lang="en-US" dirty="0"/>
              <a:t>Democratic AI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309909EE-6737-F096-AA57-A97DA6B0F3D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28701" y="1028188"/>
            <a:ext cx="10135716" cy="354045"/>
          </a:xfrm>
        </p:spPr>
        <p:txBody>
          <a:bodyPr>
            <a:normAutofit lnSpcReduction="10000"/>
          </a:bodyPr>
          <a:lstStyle/>
          <a:p>
            <a:r>
              <a:rPr lang="en-US" dirty="0"/>
              <a:t>How (2): Open-source models that we can reproduce and understand their biases</a:t>
            </a:r>
          </a:p>
        </p:txBody>
      </p:sp>
      <p:pic>
        <p:nvPicPr>
          <p:cNvPr id="9" name="Picture 2" descr="No alt text provided for this image">
            <a:extLst>
              <a:ext uri="{FF2B5EF4-FFF2-40B4-BE49-F238E27FC236}">
                <a16:creationId xmlns:a16="http://schemas.microsoft.com/office/drawing/2014/main" id="{2FC0786B-A474-6058-5254-1C419AB3A3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01018" y="2003296"/>
            <a:ext cx="6282617" cy="41449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A429784B-4FB4-3776-D9F2-A43E9D5A3B88}"/>
              </a:ext>
            </a:extLst>
          </p:cNvPr>
          <p:cNvSpPr txBox="1"/>
          <p:nvPr/>
        </p:nvSpPr>
        <p:spPr>
          <a:xfrm>
            <a:off x="1480114" y="3398646"/>
            <a:ext cx="3381256" cy="6771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200" dirty="0">
                <a:latin typeface="Helvetica" pitchFamily="2" charset="0"/>
              </a:rPr>
              <a:t>Open </a:t>
            </a:r>
            <a:r>
              <a:rPr lang="en-US" sz="2200" b="1" dirty="0">
                <a:latin typeface="Helvetica" pitchFamily="2" charset="0"/>
              </a:rPr>
              <a:t>data</a:t>
            </a:r>
          </a:p>
          <a:p>
            <a:pPr algn="ctr"/>
            <a:r>
              <a:rPr lang="en-US" sz="1600" dirty="0">
                <a:latin typeface="Helvetica" pitchFamily="2" charset="0"/>
              </a:rPr>
              <a:t>To understand and detect bias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EE6D70B-FC50-00FE-1CD7-C3402B2FAA5A}"/>
              </a:ext>
            </a:extLst>
          </p:cNvPr>
          <p:cNvSpPr txBox="1"/>
          <p:nvPr/>
        </p:nvSpPr>
        <p:spPr>
          <a:xfrm>
            <a:off x="1480114" y="4294096"/>
            <a:ext cx="3381255" cy="6771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200" dirty="0">
                <a:latin typeface="Helvetica" pitchFamily="2" charset="0"/>
              </a:rPr>
              <a:t>Open </a:t>
            </a:r>
            <a:r>
              <a:rPr lang="en-US" sz="2200" b="1" dirty="0">
                <a:latin typeface="Helvetica" pitchFamily="2" charset="0"/>
              </a:rPr>
              <a:t>model</a:t>
            </a:r>
          </a:p>
          <a:p>
            <a:pPr algn="ctr"/>
            <a:r>
              <a:rPr lang="en-US" sz="1600" dirty="0">
                <a:latin typeface="Helvetica" pitchFamily="2" charset="0"/>
              </a:rPr>
              <a:t>So that everyone can use it</a:t>
            </a:r>
            <a:endParaRPr lang="en-US" sz="2200" dirty="0">
              <a:latin typeface="Helvetica" pitchFamily="2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8E77F16-0380-AE7D-1057-3FCBA27FDC95}"/>
              </a:ext>
            </a:extLst>
          </p:cNvPr>
          <p:cNvSpPr txBox="1"/>
          <p:nvPr/>
        </p:nvSpPr>
        <p:spPr>
          <a:xfrm>
            <a:off x="1451677" y="5189546"/>
            <a:ext cx="3576727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200" dirty="0">
                <a:latin typeface="Helvetica" pitchFamily="2" charset="0"/>
              </a:rPr>
              <a:t>Open training </a:t>
            </a:r>
            <a:r>
              <a:rPr lang="en-US" sz="2200" b="1" dirty="0">
                <a:latin typeface="Helvetica" pitchFamily="2" charset="0"/>
              </a:rPr>
              <a:t>method</a:t>
            </a:r>
            <a:br>
              <a:rPr lang="en-US" sz="2200" dirty="0">
                <a:latin typeface="Helvetica" pitchFamily="2" charset="0"/>
              </a:rPr>
            </a:br>
            <a:r>
              <a:rPr lang="en-US" sz="1600" dirty="0">
                <a:latin typeface="Helvetica" pitchFamily="2" charset="0"/>
              </a:rPr>
              <a:t>So that everyone can reproduce it</a:t>
            </a:r>
          </a:p>
          <a:p>
            <a:pPr algn="ctr"/>
            <a:endParaRPr lang="en-US" sz="2200" dirty="0">
              <a:latin typeface="Helvetica" pitchFamily="2" charset="0"/>
            </a:endParaRPr>
          </a:p>
        </p:txBody>
      </p:sp>
      <p:pic>
        <p:nvPicPr>
          <p:cNvPr id="13" name="Picture 4">
            <a:extLst>
              <a:ext uri="{FF2B5EF4-FFF2-40B4-BE49-F238E27FC236}">
                <a16:creationId xmlns:a16="http://schemas.microsoft.com/office/drawing/2014/main" id="{9A0639C1-1CA8-DBC7-83F7-9638290B57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30404" y="2160441"/>
            <a:ext cx="819271" cy="1074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8141474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25E0EC4-512B-1417-69EE-B76A34214B5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>
                <a:latin typeface="Helvetica" pitchFamily="2" charset="0"/>
              </a:rPr>
              <a:t> Alberto Lumbreras </a:t>
            </a:r>
            <a:r>
              <a:rPr lang="en-US" dirty="0"/>
              <a:t>| </a:t>
            </a:r>
            <a:fld id="{3633D75A-BE2D-484B-925B-BF3693E8768D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12730289-F4B0-FDF7-0276-B685C59FEE57}"/>
              </a:ext>
            </a:extLst>
          </p:cNvPr>
          <p:cNvSpPr txBox="1">
            <a:spLocks/>
          </p:cNvSpPr>
          <p:nvPr/>
        </p:nvSpPr>
        <p:spPr>
          <a:xfrm>
            <a:off x="1028701" y="1805673"/>
            <a:ext cx="4852315" cy="310166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215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Cordia New" panose="020B0304020202020204" pitchFamily="34" charset="-34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Cordia New" panose="020B0304020202020204" pitchFamily="34" charset="-34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Cordia New" panose="020B0304020202020204" pitchFamily="34" charset="-34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Cordia New" panose="020B0304020202020204" pitchFamily="34" charset="-34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Cordia New" panose="020B0304020202020204" pitchFamily="34" charset="-34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000" dirty="0"/>
              <a:t>Digital technologies consume </a:t>
            </a:r>
            <a:r>
              <a:rPr lang="en-US" sz="2000" b="1" dirty="0"/>
              <a:t>4% of the global carbon footprint </a:t>
            </a:r>
            <a:r>
              <a:rPr lang="en-US" sz="2000" dirty="0"/>
              <a:t>(2023).*</a:t>
            </a:r>
            <a:br>
              <a:rPr lang="en-US" sz="2000" dirty="0"/>
            </a:br>
            <a:endParaRPr lang="en-US" sz="2000" dirty="0"/>
          </a:p>
          <a:p>
            <a:pPr algn="ctr"/>
            <a:r>
              <a:rPr lang="en-US" sz="2000" dirty="0"/>
              <a:t>Generative AI is very energy consuming: Training ChatGPT emitted 3000 tEqCO2 and each question consumes </a:t>
            </a:r>
            <a:r>
              <a:rPr lang="en-US" sz="2000" b="1" dirty="0"/>
              <a:t>x10 more energy than a search query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03D63AB-EB11-1FE2-4E8C-C1844A67379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67017" y="1793065"/>
            <a:ext cx="4208927" cy="3693335"/>
          </a:xfrm>
          <a:prstGeom prst="rect">
            <a:avLst/>
          </a:prstGeom>
          <a:noFill/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9D85190B-2657-A763-350C-4F644BB9CD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9775" y="571751"/>
            <a:ext cx="10133525" cy="456437"/>
          </a:xfrm>
        </p:spPr>
        <p:txBody>
          <a:bodyPr anchor="t">
            <a:normAutofit/>
          </a:bodyPr>
          <a:lstStyle/>
          <a:p>
            <a:r>
              <a:rPr lang="en-US" sz="3300" dirty="0"/>
              <a:t>Sustainable AI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E2C0D37C-1C4E-6191-04C2-4F4FEE8BD7D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28701" y="1028188"/>
            <a:ext cx="10134642" cy="354045"/>
          </a:xfrm>
        </p:spPr>
        <p:txBody>
          <a:bodyPr>
            <a:normAutofit/>
          </a:bodyPr>
          <a:lstStyle/>
          <a:p>
            <a:pPr>
              <a:lnSpc>
                <a:spcPct val="110000"/>
              </a:lnSpc>
            </a:pPr>
            <a:r>
              <a:rPr lang="en-US" sz="2150" dirty="0"/>
              <a:t>Why (1): To avoid more CO2 emissions 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F4CC732B-7DB8-1C6C-5BB5-65A1F4C9B840}"/>
              </a:ext>
            </a:extLst>
          </p:cNvPr>
          <p:cNvSpPr txBox="1">
            <a:spLocks/>
          </p:cNvSpPr>
          <p:nvPr/>
        </p:nvSpPr>
        <p:spPr>
          <a:xfrm>
            <a:off x="1028701" y="5314151"/>
            <a:ext cx="4666042" cy="97209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0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Cordia New" panose="020B0304020202020204" pitchFamily="34" charset="-34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Cordia New" panose="020B0304020202020204" pitchFamily="34" charset="-34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Cordia New" panose="020B0304020202020204" pitchFamily="34" charset="-34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Cordia New" panose="020B0304020202020204" pitchFamily="34" charset="-34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Cordia New" panose="020B0304020202020204" pitchFamily="34" charset="-34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* Guillaume Pitron. </a:t>
            </a:r>
            <a:r>
              <a:rPr lang="en-US" sz="1200" b="1" dirty="0"/>
              <a:t>L’enfer numérique. Voyage au bout d’un like</a:t>
            </a:r>
            <a:r>
              <a:rPr lang="en-US" sz="1200" dirty="0"/>
              <a:t>. </a:t>
            </a:r>
            <a:br>
              <a:rPr lang="en-US" sz="1200" dirty="0"/>
            </a:br>
            <a:r>
              <a:rPr lang="en-US" sz="1200" dirty="0"/>
              <a:t>Ed. Les Livres qui Libèrent (2023)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57ECF93C-84DD-34AC-BACA-0B686AE121D4}"/>
              </a:ext>
            </a:extLst>
          </p:cNvPr>
          <p:cNvSpPr txBox="1">
            <a:spLocks/>
          </p:cNvSpPr>
          <p:nvPr/>
        </p:nvSpPr>
        <p:spPr>
          <a:xfrm>
            <a:off x="6356897" y="1317768"/>
            <a:ext cx="4852315" cy="48790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indent="0" algn="ctr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867" b="0" i="0" kern="1200" baseline="0">
                <a:solidFill>
                  <a:schemeClr val="tx1"/>
                </a:solidFill>
                <a:latin typeface="HurmeGeometricSans1 Regular" panose="020B0500020000000000" pitchFamily="34" charset="0"/>
                <a:ea typeface="HurmeGeometricSans1 Regular" panose="020B0500020000000000" pitchFamily="34" charset="0"/>
                <a:cs typeface="HurmeGeometricSans1 Regular" panose="020B0500020000000000" pitchFamily="34" charset="0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/>
              <a:t>CO2 emissions from digital technologies (1 person)</a:t>
            </a:r>
          </a:p>
        </p:txBody>
      </p:sp>
    </p:spTree>
    <p:extLst>
      <p:ext uri="{BB962C8B-B14F-4D97-AF65-F5344CB8AC3E}">
        <p14:creationId xmlns:p14="http://schemas.microsoft.com/office/powerpoint/2010/main" val="237401551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07A3197-DA27-E5AE-D9EF-5AEA0A49BD8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>
                <a:latin typeface="Helvetica" pitchFamily="2" charset="0"/>
              </a:rPr>
              <a:t> Alberto Lumbreras </a:t>
            </a:r>
            <a:r>
              <a:rPr lang="en-US" dirty="0"/>
              <a:t>| </a:t>
            </a:r>
            <a:fld id="{3633D75A-BE2D-484B-925B-BF3693E8768D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4CAE92AD-8F05-CB33-04F6-671FBDE2D6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9775" y="571751"/>
            <a:ext cx="10134599" cy="456437"/>
          </a:xfrm>
        </p:spPr>
        <p:txBody>
          <a:bodyPr>
            <a:normAutofit fontScale="90000"/>
          </a:bodyPr>
          <a:lstStyle/>
          <a:p>
            <a:r>
              <a:rPr lang="en-US" sz="3600" dirty="0"/>
              <a:t>Sustainable AI</a:t>
            </a:r>
            <a:endParaRPr lang="en-US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8FB69B7E-52E9-E978-F16D-5437476374C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28701" y="1028188"/>
            <a:ext cx="10135716" cy="354045"/>
          </a:xfrm>
        </p:spPr>
        <p:txBody>
          <a:bodyPr>
            <a:normAutofit lnSpcReduction="10000"/>
          </a:bodyPr>
          <a:lstStyle/>
          <a:p>
            <a:r>
              <a:rPr lang="en-US" dirty="0"/>
              <a:t>Why (2): Models are getting bigger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EE6E452-1B01-31D6-C4D6-2DD5EEA89B4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21970" y="1469703"/>
            <a:ext cx="6677526" cy="454895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788BDCFF-0D21-91D8-4B70-F216D12D36D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28701" y="3049832"/>
            <a:ext cx="4642934" cy="1107900"/>
          </a:xfrm>
          <a:custGeom>
            <a:avLst/>
            <a:gdLst>
              <a:gd name="connsiteX0" fmla="*/ 0 w 4642934"/>
              <a:gd name="connsiteY0" fmla="*/ 0 h 1107900"/>
              <a:gd name="connsiteX1" fmla="*/ 570418 w 4642934"/>
              <a:gd name="connsiteY1" fmla="*/ 0 h 1107900"/>
              <a:gd name="connsiteX2" fmla="*/ 1280123 w 4642934"/>
              <a:gd name="connsiteY2" fmla="*/ 0 h 1107900"/>
              <a:gd name="connsiteX3" fmla="*/ 1896970 w 4642934"/>
              <a:gd name="connsiteY3" fmla="*/ 0 h 1107900"/>
              <a:gd name="connsiteX4" fmla="*/ 2467388 w 4642934"/>
              <a:gd name="connsiteY4" fmla="*/ 0 h 1107900"/>
              <a:gd name="connsiteX5" fmla="*/ 3177093 w 4642934"/>
              <a:gd name="connsiteY5" fmla="*/ 0 h 1107900"/>
              <a:gd name="connsiteX6" fmla="*/ 3840370 w 4642934"/>
              <a:gd name="connsiteY6" fmla="*/ 0 h 1107900"/>
              <a:gd name="connsiteX7" fmla="*/ 4642934 w 4642934"/>
              <a:gd name="connsiteY7" fmla="*/ 0 h 1107900"/>
              <a:gd name="connsiteX8" fmla="*/ 4642934 w 4642934"/>
              <a:gd name="connsiteY8" fmla="*/ 576108 h 1107900"/>
              <a:gd name="connsiteX9" fmla="*/ 4642934 w 4642934"/>
              <a:gd name="connsiteY9" fmla="*/ 1107900 h 1107900"/>
              <a:gd name="connsiteX10" fmla="*/ 4072516 w 4642934"/>
              <a:gd name="connsiteY10" fmla="*/ 1107900 h 1107900"/>
              <a:gd name="connsiteX11" fmla="*/ 3548528 w 4642934"/>
              <a:gd name="connsiteY11" fmla="*/ 1107900 h 1107900"/>
              <a:gd name="connsiteX12" fmla="*/ 2838823 w 4642934"/>
              <a:gd name="connsiteY12" fmla="*/ 1107900 h 1107900"/>
              <a:gd name="connsiteX13" fmla="*/ 2268405 w 4642934"/>
              <a:gd name="connsiteY13" fmla="*/ 1107900 h 1107900"/>
              <a:gd name="connsiteX14" fmla="*/ 1558699 w 4642934"/>
              <a:gd name="connsiteY14" fmla="*/ 1107900 h 1107900"/>
              <a:gd name="connsiteX15" fmla="*/ 802564 w 4642934"/>
              <a:gd name="connsiteY15" fmla="*/ 1107900 h 1107900"/>
              <a:gd name="connsiteX16" fmla="*/ 0 w 4642934"/>
              <a:gd name="connsiteY16" fmla="*/ 1107900 h 1107900"/>
              <a:gd name="connsiteX17" fmla="*/ 0 w 4642934"/>
              <a:gd name="connsiteY17" fmla="*/ 531792 h 1107900"/>
              <a:gd name="connsiteX18" fmla="*/ 0 w 4642934"/>
              <a:gd name="connsiteY18" fmla="*/ 0 h 1107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4642934" h="1107900" fill="none" extrusionOk="0">
                <a:moveTo>
                  <a:pt x="0" y="0"/>
                </a:moveTo>
                <a:cubicBezTo>
                  <a:pt x="168629" y="-5784"/>
                  <a:pt x="400312" y="-20229"/>
                  <a:pt x="570418" y="0"/>
                </a:cubicBezTo>
                <a:cubicBezTo>
                  <a:pt x="740524" y="20229"/>
                  <a:pt x="964019" y="-7063"/>
                  <a:pt x="1280123" y="0"/>
                </a:cubicBezTo>
                <a:cubicBezTo>
                  <a:pt x="1596228" y="7063"/>
                  <a:pt x="1643390" y="823"/>
                  <a:pt x="1896970" y="0"/>
                </a:cubicBezTo>
                <a:cubicBezTo>
                  <a:pt x="2150550" y="-823"/>
                  <a:pt x="2298271" y="-9136"/>
                  <a:pt x="2467388" y="0"/>
                </a:cubicBezTo>
                <a:cubicBezTo>
                  <a:pt x="2636505" y="9136"/>
                  <a:pt x="2928867" y="19666"/>
                  <a:pt x="3177093" y="0"/>
                </a:cubicBezTo>
                <a:cubicBezTo>
                  <a:pt x="3425319" y="-19666"/>
                  <a:pt x="3557753" y="-31983"/>
                  <a:pt x="3840370" y="0"/>
                </a:cubicBezTo>
                <a:cubicBezTo>
                  <a:pt x="4122987" y="31983"/>
                  <a:pt x="4319453" y="7407"/>
                  <a:pt x="4642934" y="0"/>
                </a:cubicBezTo>
                <a:cubicBezTo>
                  <a:pt x="4618968" y="133263"/>
                  <a:pt x="4621670" y="357576"/>
                  <a:pt x="4642934" y="576108"/>
                </a:cubicBezTo>
                <a:cubicBezTo>
                  <a:pt x="4664198" y="794640"/>
                  <a:pt x="4617043" y="943368"/>
                  <a:pt x="4642934" y="1107900"/>
                </a:cubicBezTo>
                <a:cubicBezTo>
                  <a:pt x="4448619" y="1126850"/>
                  <a:pt x="4192673" y="1131093"/>
                  <a:pt x="4072516" y="1107900"/>
                </a:cubicBezTo>
                <a:cubicBezTo>
                  <a:pt x="3952359" y="1084707"/>
                  <a:pt x="3763704" y="1106166"/>
                  <a:pt x="3548528" y="1107900"/>
                </a:cubicBezTo>
                <a:cubicBezTo>
                  <a:pt x="3333352" y="1109634"/>
                  <a:pt x="3009590" y="1106031"/>
                  <a:pt x="2838823" y="1107900"/>
                </a:cubicBezTo>
                <a:cubicBezTo>
                  <a:pt x="2668056" y="1109769"/>
                  <a:pt x="2430869" y="1090955"/>
                  <a:pt x="2268405" y="1107900"/>
                </a:cubicBezTo>
                <a:cubicBezTo>
                  <a:pt x="2105941" y="1124845"/>
                  <a:pt x="1809300" y="1111379"/>
                  <a:pt x="1558699" y="1107900"/>
                </a:cubicBezTo>
                <a:cubicBezTo>
                  <a:pt x="1308098" y="1104421"/>
                  <a:pt x="1048554" y="1090265"/>
                  <a:pt x="802564" y="1107900"/>
                </a:cubicBezTo>
                <a:cubicBezTo>
                  <a:pt x="556574" y="1125535"/>
                  <a:pt x="350605" y="1086702"/>
                  <a:pt x="0" y="1107900"/>
                </a:cubicBezTo>
                <a:cubicBezTo>
                  <a:pt x="-23795" y="899807"/>
                  <a:pt x="-12266" y="729194"/>
                  <a:pt x="0" y="531792"/>
                </a:cubicBezTo>
                <a:cubicBezTo>
                  <a:pt x="12266" y="334390"/>
                  <a:pt x="-19510" y="185595"/>
                  <a:pt x="0" y="0"/>
                </a:cubicBezTo>
                <a:close/>
              </a:path>
              <a:path w="4642934" h="1107900" stroke="0" extrusionOk="0">
                <a:moveTo>
                  <a:pt x="0" y="0"/>
                </a:moveTo>
                <a:cubicBezTo>
                  <a:pt x="230530" y="9347"/>
                  <a:pt x="347586" y="28030"/>
                  <a:pt x="616847" y="0"/>
                </a:cubicBezTo>
                <a:cubicBezTo>
                  <a:pt x="886108" y="-28030"/>
                  <a:pt x="888925" y="1402"/>
                  <a:pt x="1140835" y="0"/>
                </a:cubicBezTo>
                <a:cubicBezTo>
                  <a:pt x="1392745" y="-1402"/>
                  <a:pt x="1734702" y="27691"/>
                  <a:pt x="1896970" y="0"/>
                </a:cubicBezTo>
                <a:cubicBezTo>
                  <a:pt x="2059238" y="-27691"/>
                  <a:pt x="2230929" y="-12482"/>
                  <a:pt x="2513817" y="0"/>
                </a:cubicBezTo>
                <a:cubicBezTo>
                  <a:pt x="2796705" y="12482"/>
                  <a:pt x="2880664" y="26385"/>
                  <a:pt x="3130664" y="0"/>
                </a:cubicBezTo>
                <a:cubicBezTo>
                  <a:pt x="3380664" y="-26385"/>
                  <a:pt x="3597127" y="-10495"/>
                  <a:pt x="3886799" y="0"/>
                </a:cubicBezTo>
                <a:cubicBezTo>
                  <a:pt x="4176471" y="10495"/>
                  <a:pt x="4482520" y="9052"/>
                  <a:pt x="4642934" y="0"/>
                </a:cubicBezTo>
                <a:cubicBezTo>
                  <a:pt x="4667696" y="195864"/>
                  <a:pt x="4668812" y="298492"/>
                  <a:pt x="4642934" y="576108"/>
                </a:cubicBezTo>
                <a:cubicBezTo>
                  <a:pt x="4617056" y="853724"/>
                  <a:pt x="4655995" y="901821"/>
                  <a:pt x="4642934" y="1107900"/>
                </a:cubicBezTo>
                <a:cubicBezTo>
                  <a:pt x="4515300" y="1132705"/>
                  <a:pt x="4269250" y="1119000"/>
                  <a:pt x="4072516" y="1107900"/>
                </a:cubicBezTo>
                <a:cubicBezTo>
                  <a:pt x="3875782" y="1096800"/>
                  <a:pt x="3582046" y="1106283"/>
                  <a:pt x="3409240" y="1107900"/>
                </a:cubicBezTo>
                <a:cubicBezTo>
                  <a:pt x="3236434" y="1109517"/>
                  <a:pt x="3005611" y="1113681"/>
                  <a:pt x="2792393" y="1107900"/>
                </a:cubicBezTo>
                <a:cubicBezTo>
                  <a:pt x="2579175" y="1102119"/>
                  <a:pt x="2285530" y="1133882"/>
                  <a:pt x="2036258" y="1107900"/>
                </a:cubicBezTo>
                <a:cubicBezTo>
                  <a:pt x="1786986" y="1081918"/>
                  <a:pt x="1482598" y="1090290"/>
                  <a:pt x="1280123" y="1107900"/>
                </a:cubicBezTo>
                <a:cubicBezTo>
                  <a:pt x="1077649" y="1125510"/>
                  <a:pt x="841414" y="1118125"/>
                  <a:pt x="709706" y="1107900"/>
                </a:cubicBezTo>
                <a:cubicBezTo>
                  <a:pt x="577998" y="1097675"/>
                  <a:pt x="250326" y="1097052"/>
                  <a:pt x="0" y="1107900"/>
                </a:cubicBezTo>
                <a:cubicBezTo>
                  <a:pt x="-18965" y="912486"/>
                  <a:pt x="23921" y="801510"/>
                  <a:pt x="0" y="531792"/>
                </a:cubicBezTo>
                <a:cubicBezTo>
                  <a:pt x="-23921" y="262074"/>
                  <a:pt x="20700" y="237077"/>
                  <a:pt x="0" y="0"/>
                </a:cubicBezTo>
                <a:close/>
              </a:path>
            </a:pathLst>
          </a:custGeom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</p:pic>
    </p:spTree>
    <p:extLst>
      <p:ext uri="{BB962C8B-B14F-4D97-AF65-F5344CB8AC3E}">
        <p14:creationId xmlns:p14="http://schemas.microsoft.com/office/powerpoint/2010/main" val="391275526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459CC3D-157C-B83C-8C02-7E30A0D7400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>
                <a:latin typeface="Helvetica" pitchFamily="2" charset="0"/>
              </a:rPr>
              <a:t> Alberto Lumbreras </a:t>
            </a:r>
            <a:r>
              <a:rPr lang="en-US" dirty="0"/>
              <a:t>| </a:t>
            </a:r>
            <a:fld id="{3633D75A-BE2D-484B-925B-BF3693E8768D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317921B5-8454-6B17-F341-4B34BCB99A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9775" y="571751"/>
            <a:ext cx="10134599" cy="456437"/>
          </a:xfrm>
        </p:spPr>
        <p:txBody>
          <a:bodyPr>
            <a:normAutofit fontScale="90000"/>
          </a:bodyPr>
          <a:lstStyle/>
          <a:p>
            <a:r>
              <a:rPr lang="en-US" dirty="0"/>
              <a:t>Sustainable AI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7A9CA6CD-23D3-C40C-9E52-8F8158DD4DB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28701" y="1028188"/>
            <a:ext cx="10135716" cy="354045"/>
          </a:xfrm>
        </p:spPr>
        <p:txBody>
          <a:bodyPr>
            <a:normAutofit lnSpcReduction="10000"/>
          </a:bodyPr>
          <a:lstStyle/>
          <a:p>
            <a:r>
              <a:rPr lang="en-US" dirty="0"/>
              <a:t>How: Regulate, federate, reduce</a:t>
            </a:r>
          </a:p>
        </p:txBody>
      </p:sp>
      <p:sp>
        <p:nvSpPr>
          <p:cNvPr id="9" name="Slide Number Placeholder 4">
            <a:extLst>
              <a:ext uri="{FF2B5EF4-FFF2-40B4-BE49-F238E27FC236}">
                <a16:creationId xmlns:a16="http://schemas.microsoft.com/office/drawing/2014/main" id="{7C85CF04-014F-3EF6-98E7-096BCBE0E937}"/>
              </a:ext>
            </a:extLst>
          </p:cNvPr>
          <p:cNvSpPr txBox="1">
            <a:spLocks/>
          </p:cNvSpPr>
          <p:nvPr/>
        </p:nvSpPr>
        <p:spPr>
          <a:xfrm>
            <a:off x="376376" y="6357383"/>
            <a:ext cx="1602896" cy="365125"/>
          </a:xfrm>
          <a:prstGeom prst="rect">
            <a:avLst/>
          </a:prstGeom>
        </p:spPr>
        <p:txBody>
          <a:bodyPr vert="horz" lIns="91440" tIns="45720" rIns="91440" bIns="45720" rtlCol="0" anchor="ctr" anchorCtr="0"/>
          <a:lstStyle>
            <a:defPPr>
              <a:defRPr lang="en-US"/>
            </a:defPPr>
            <a:lvl1pPr marL="0" algn="r" defTabSz="914354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78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4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2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8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633D75A-BE2D-484B-925B-BF3693E8768D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3E9CDCB5-53F3-247C-0CEF-5D49DFC59CFB}"/>
              </a:ext>
            </a:extLst>
          </p:cNvPr>
          <p:cNvSpPr txBox="1">
            <a:spLocks/>
          </p:cNvSpPr>
          <p:nvPr/>
        </p:nvSpPr>
        <p:spPr>
          <a:xfrm>
            <a:off x="3579147" y="5016759"/>
            <a:ext cx="4249152" cy="159238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0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Cordia New" panose="020B0304020202020204" pitchFamily="34" charset="-34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Cordia New" panose="020B0304020202020204" pitchFamily="34" charset="-34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Cordia New" panose="020B0304020202020204" pitchFamily="34" charset="-34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Cordia New" panose="020B0304020202020204" pitchFamily="34" charset="-34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Cordia New" panose="020B0304020202020204" pitchFamily="34" charset="-34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/>
              <a:t>* But mind the </a:t>
            </a:r>
            <a:r>
              <a:rPr lang="en-US" sz="1600" b="1" dirty="0"/>
              <a:t>Jevon’s paradox</a:t>
            </a:r>
            <a:r>
              <a:rPr lang="en-US" sz="1600" dirty="0"/>
              <a:t>: more efficiency leading to more consumption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CEE4CAD-5B4D-C367-C84D-5F4DA2E7DC0B}"/>
              </a:ext>
            </a:extLst>
          </p:cNvPr>
          <p:cNvSpPr txBox="1">
            <a:spLocks/>
          </p:cNvSpPr>
          <p:nvPr/>
        </p:nvSpPr>
        <p:spPr>
          <a:xfrm>
            <a:off x="3074776" y="2416097"/>
            <a:ext cx="6878348" cy="78990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2133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Cordia New" panose="020B0304020202020204" pitchFamily="34" charset="-34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Cordia New" panose="020B0304020202020204" pitchFamily="34" charset="-34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Cordia New" panose="020B0304020202020204" pitchFamily="34" charset="-34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Cordia New" panose="020B0304020202020204" pitchFamily="34" charset="-34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Cordia New" panose="020B0304020202020204" pitchFamily="34" charset="-34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/>
          </a:p>
        </p:txBody>
      </p:sp>
      <p:sp>
        <p:nvSpPr>
          <p:cNvPr id="12" name="Rounded Rectangle 11">
            <a:extLst>
              <a:ext uri="{FF2B5EF4-FFF2-40B4-BE49-F238E27FC236}">
                <a16:creationId xmlns:a16="http://schemas.microsoft.com/office/drawing/2014/main" id="{19C14BB6-90E9-85D4-5158-341B1D7C7155}"/>
              </a:ext>
            </a:extLst>
          </p:cNvPr>
          <p:cNvSpPr/>
          <p:nvPr/>
        </p:nvSpPr>
        <p:spPr>
          <a:xfrm>
            <a:off x="3579147" y="2357542"/>
            <a:ext cx="4249152" cy="455993"/>
          </a:xfrm>
          <a:prstGeom prst="roundRect">
            <a:avLst>
              <a:gd name="adj" fmla="val 12054"/>
            </a:avLst>
          </a:prstGeom>
          <a:solidFill>
            <a:schemeClr val="tx2">
              <a:lumMod val="20000"/>
              <a:lumOff val="80000"/>
            </a:schemeClr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Regulation for energetic sobriety</a:t>
            </a:r>
            <a:endParaRPr lang="en-US" b="1" dirty="0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616F10F2-D825-03A8-D0B0-039A894189E1}"/>
              </a:ext>
            </a:extLst>
          </p:cNvPr>
          <p:cNvSpPr/>
          <p:nvPr/>
        </p:nvSpPr>
        <p:spPr>
          <a:xfrm>
            <a:off x="3579147" y="3457376"/>
            <a:ext cx="4249152" cy="452206"/>
          </a:xfrm>
          <a:prstGeom prst="roundRect">
            <a:avLst>
              <a:gd name="adj" fmla="val 12054"/>
            </a:avLst>
          </a:prstGeom>
          <a:solidFill>
            <a:schemeClr val="accent2">
              <a:lumMod val="20000"/>
              <a:lumOff val="80000"/>
            </a:schemeClr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Federate resources</a:t>
            </a: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DB34D10-321D-04B9-FB53-31632E6D487D}"/>
              </a:ext>
            </a:extLst>
          </p:cNvPr>
          <p:cNvSpPr/>
          <p:nvPr/>
        </p:nvSpPr>
        <p:spPr>
          <a:xfrm>
            <a:off x="3583005" y="4550012"/>
            <a:ext cx="4245294" cy="452206"/>
          </a:xfrm>
          <a:prstGeom prst="roundRect">
            <a:avLst>
              <a:gd name="adj" fmla="val 12054"/>
            </a:avLst>
          </a:prstGeom>
          <a:solidFill>
            <a:schemeClr val="accent5">
              <a:lumMod val="90000"/>
            </a:schemeClr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Smaller models (already happening)*</a:t>
            </a:r>
          </a:p>
        </p:txBody>
      </p:sp>
      <p:pic>
        <p:nvPicPr>
          <p:cNvPr id="15" name="Picture 4" descr="Institution Icons - Free SVG &amp; PNG Institution Images - Noun Project">
            <a:extLst>
              <a:ext uri="{FF2B5EF4-FFF2-40B4-BE49-F238E27FC236}">
                <a16:creationId xmlns:a16="http://schemas.microsoft.com/office/drawing/2014/main" id="{76284AC4-DDDA-05F3-78AC-EE850A7DF3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265" y="2154674"/>
            <a:ext cx="789904" cy="7899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6" descr="Data Sharing Icon Royalty-Free Images, Stock Photos &amp; Pictures |  Shutterstock">
            <a:extLst>
              <a:ext uri="{FF2B5EF4-FFF2-40B4-BE49-F238E27FC236}">
                <a16:creationId xmlns:a16="http://schemas.microsoft.com/office/drawing/2014/main" id="{CEFAC6C9-B58B-C9C0-7FB3-C30DCD38671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57390" y="3145586"/>
            <a:ext cx="972557" cy="10491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8" descr="Black Line Icon for Tiny, Little and Puny Stock Vector - Illustration of  teeny, mini: 211423135">
            <a:extLst>
              <a:ext uri="{FF2B5EF4-FFF2-40B4-BE49-F238E27FC236}">
                <a16:creationId xmlns:a16="http://schemas.microsoft.com/office/drawing/2014/main" id="{A79DCA7B-59A6-0D0E-DDA0-323C0BF869E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2640042" y="4395695"/>
            <a:ext cx="789905" cy="7899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7537332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643A158-D395-C295-650C-CFA5BE5F535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>
                <a:latin typeface="Helvetica" pitchFamily="2" charset="0"/>
              </a:rPr>
              <a:t> Alberto Lumbreras </a:t>
            </a:r>
            <a:r>
              <a:rPr lang="en-US" dirty="0"/>
              <a:t>| </a:t>
            </a:r>
            <a:fld id="{3633D75A-BE2D-484B-925B-BF3693E8768D}" type="slidenum">
              <a:rPr lang="en-US" smtClean="0"/>
              <a:pPr/>
              <a:t>17</a:t>
            </a:fld>
            <a:endParaRPr lang="en-US" dirty="0"/>
          </a:p>
        </p:txBody>
      </p:sp>
      <p:pic>
        <p:nvPicPr>
          <p:cNvPr id="7" name="Picture 2" descr="Plusvalía - Qué es, concepto, cálculo, relativa y absoluta">
            <a:extLst>
              <a:ext uri="{FF2B5EF4-FFF2-40B4-BE49-F238E27FC236}">
                <a16:creationId xmlns:a16="http://schemas.microsoft.com/office/drawing/2014/main" id="{3638E8DF-3FC2-8E9B-4DD4-87C57340861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456" r="29429"/>
          <a:stretch/>
        </p:blipFill>
        <p:spPr bwMode="auto">
          <a:xfrm>
            <a:off x="7018338" y="-43417"/>
            <a:ext cx="5173662" cy="6291817"/>
          </a:xfrm>
          <a:custGeom>
            <a:avLst/>
            <a:gdLst>
              <a:gd name="connsiteX0" fmla="*/ 0 w 5555894"/>
              <a:gd name="connsiteY0" fmla="*/ 0 h 6858000"/>
              <a:gd name="connsiteX1" fmla="*/ 299 w 5555894"/>
              <a:gd name="connsiteY1" fmla="*/ 0 h 6858000"/>
              <a:gd name="connsiteX2" fmla="*/ 5173662 w 5555894"/>
              <a:gd name="connsiteY2" fmla="*/ 0 h 6858000"/>
              <a:gd name="connsiteX3" fmla="*/ 5555894 w 5555894"/>
              <a:gd name="connsiteY3" fmla="*/ 0 h 6858000"/>
              <a:gd name="connsiteX4" fmla="*/ 5555894 w 5555894"/>
              <a:gd name="connsiteY4" fmla="*/ 6857999 h 6858000"/>
              <a:gd name="connsiteX5" fmla="*/ 5173662 w 5555894"/>
              <a:gd name="connsiteY5" fmla="*/ 6857999 h 6858000"/>
              <a:gd name="connsiteX6" fmla="*/ 5173662 w 5555894"/>
              <a:gd name="connsiteY6" fmla="*/ 6858000 h 6858000"/>
              <a:gd name="connsiteX7" fmla="*/ 0 w 5555894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555894" h="6858000">
                <a:moveTo>
                  <a:pt x="0" y="0"/>
                </a:moveTo>
                <a:lnTo>
                  <a:pt x="299" y="0"/>
                </a:lnTo>
                <a:lnTo>
                  <a:pt x="5173662" y="0"/>
                </a:lnTo>
                <a:lnTo>
                  <a:pt x="5555894" y="0"/>
                </a:lnTo>
                <a:lnTo>
                  <a:pt x="5555894" y="6857999"/>
                </a:lnTo>
                <a:lnTo>
                  <a:pt x="5173662" y="6857999"/>
                </a:lnTo>
                <a:lnTo>
                  <a:pt x="5173662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C807CDED-C0DF-4CC8-A8BA-31F2FD3068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9775" y="571751"/>
            <a:ext cx="5555607" cy="456437"/>
          </a:xfrm>
        </p:spPr>
        <p:txBody>
          <a:bodyPr anchor="t">
            <a:normAutofit/>
          </a:bodyPr>
          <a:lstStyle/>
          <a:p>
            <a:r>
              <a:rPr lang="en-US" sz="3300" dirty="0"/>
              <a:t>Redistributive AI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5319EC44-011C-D2DE-DBA6-44B3CFD1283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28701" y="1028188"/>
            <a:ext cx="5556219" cy="354045"/>
          </a:xfrm>
        </p:spPr>
        <p:txBody>
          <a:bodyPr>
            <a:normAutofit/>
          </a:bodyPr>
          <a:lstStyle/>
          <a:p>
            <a:pPr>
              <a:lnSpc>
                <a:spcPct val="110000"/>
              </a:lnSpc>
            </a:pPr>
            <a:r>
              <a:rPr lang="en-US" dirty="0"/>
              <a:t>Why: To prevent the rich from becoming richer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54DDF219-04FF-5022-4956-B4A7A29A82DA}"/>
              </a:ext>
            </a:extLst>
          </p:cNvPr>
          <p:cNvSpPr txBox="1">
            <a:spLocks/>
          </p:cNvSpPr>
          <p:nvPr/>
        </p:nvSpPr>
        <p:spPr>
          <a:xfrm>
            <a:off x="1239764" y="5285193"/>
            <a:ext cx="4269785" cy="96320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0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Cordia New" panose="020B0304020202020204" pitchFamily="34" charset="-34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Cordia New" panose="020B0304020202020204" pitchFamily="34" charset="-34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Cordia New" panose="020B0304020202020204" pitchFamily="34" charset="-34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Cordia New" panose="020B0304020202020204" pitchFamily="34" charset="-34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Cordia New" panose="020B0304020202020204" pitchFamily="34" charset="-34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/>
              <a:t>* But coding is just a tiny part of my job. Overall productivity increase will be diluted by time in other areas such as meetings, planning, reading…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8CC98DC5-7F13-0DEF-FC1F-C959F7409D32}"/>
              </a:ext>
            </a:extLst>
          </p:cNvPr>
          <p:cNvSpPr txBox="1">
            <a:spLocks/>
          </p:cNvSpPr>
          <p:nvPr/>
        </p:nvSpPr>
        <p:spPr>
          <a:xfrm>
            <a:off x="824497" y="1764636"/>
            <a:ext cx="4852315" cy="3138153"/>
          </a:xfrm>
          <a:prstGeom prst="rect">
            <a:avLst/>
          </a:prstGeom>
        </p:spPr>
        <p:txBody>
          <a:bodyPr anchor="ctr">
            <a:normAutofit fontScale="92500" lnSpcReduction="20000"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2133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Cordia New" panose="020B0304020202020204" pitchFamily="34" charset="-34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Cordia New" panose="020B0304020202020204" pitchFamily="34" charset="-34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Cordia New" panose="020B0304020202020204" pitchFamily="34" charset="-34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Cordia New" panose="020B0304020202020204" pitchFamily="34" charset="-34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Cordia New" panose="020B0304020202020204" pitchFamily="34" charset="-34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1" dirty="0"/>
              <a:t>Productivity will increase</a:t>
            </a:r>
            <a:br>
              <a:rPr lang="en-US" b="1" dirty="0"/>
            </a:br>
            <a:r>
              <a:rPr lang="en-US" dirty="0"/>
              <a:t>(from personal experience, coding x3 – x5*) </a:t>
            </a:r>
          </a:p>
          <a:p>
            <a:pPr algn="ctr"/>
            <a:endParaRPr lang="en-US" dirty="0"/>
          </a:p>
          <a:p>
            <a:pPr algn="ctr"/>
            <a:r>
              <a:rPr lang="en-US" dirty="0"/>
              <a:t>Either </a:t>
            </a:r>
            <a:r>
              <a:rPr lang="en-US" b="1" dirty="0">
                <a:solidFill>
                  <a:srgbClr val="00B050"/>
                </a:solidFill>
              </a:rPr>
              <a:t>it goes to the workers </a:t>
            </a:r>
            <a:br>
              <a:rPr lang="en-US" dirty="0"/>
            </a:br>
            <a:r>
              <a:rPr lang="en-US" dirty="0"/>
              <a:t>or </a:t>
            </a:r>
            <a:br>
              <a:rPr lang="en-US" dirty="0"/>
            </a:br>
            <a:r>
              <a:rPr lang="en-US" dirty="0"/>
              <a:t>it becomes </a:t>
            </a:r>
            <a:r>
              <a:rPr lang="en-US" b="1" dirty="0">
                <a:solidFill>
                  <a:srgbClr val="C00000"/>
                </a:solidFill>
              </a:rPr>
              <a:t>new surplus for the capital</a:t>
            </a:r>
            <a:r>
              <a:rPr lang="en-US" dirty="0"/>
              <a:t>.</a:t>
            </a:r>
            <a:br>
              <a:rPr lang="en-US" dirty="0"/>
            </a:br>
            <a:br>
              <a:rPr lang="en-US" dirty="0"/>
            </a:br>
            <a:r>
              <a:rPr lang="en-US" dirty="0"/>
              <a:t>If it goes to the capital, it will lead to unemployment and more inequality</a:t>
            </a:r>
          </a:p>
        </p:txBody>
      </p:sp>
    </p:spTree>
    <p:extLst>
      <p:ext uri="{BB962C8B-B14F-4D97-AF65-F5344CB8AC3E}">
        <p14:creationId xmlns:p14="http://schemas.microsoft.com/office/powerpoint/2010/main" val="83593332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E427698-C3BC-6AD6-7162-BD5E797C676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>
                <a:latin typeface="Helvetica" pitchFamily="2" charset="0"/>
              </a:rPr>
              <a:t> Alberto Lumbreras </a:t>
            </a:r>
            <a:r>
              <a:rPr lang="en-US" dirty="0"/>
              <a:t>| </a:t>
            </a:r>
            <a:fld id="{3633D75A-BE2D-484B-925B-BF3693E8768D}" type="slidenum">
              <a:rPr lang="en-US" smtClean="0"/>
              <a:pPr/>
              <a:t>18</a:t>
            </a:fld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0038EA9E-B7B9-A0CA-D7A0-9083BE171B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9775" y="571751"/>
            <a:ext cx="10134599" cy="456437"/>
          </a:xfrm>
        </p:spPr>
        <p:txBody>
          <a:bodyPr>
            <a:normAutofit fontScale="90000"/>
          </a:bodyPr>
          <a:lstStyle/>
          <a:p>
            <a:r>
              <a:rPr lang="en-US" dirty="0"/>
              <a:t>Redistributive AI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1F4AB266-AD55-C3BE-3DE4-D8F20DA3C06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28701" y="1039763"/>
            <a:ext cx="10135716" cy="354045"/>
          </a:xfrm>
        </p:spPr>
        <p:txBody>
          <a:bodyPr>
            <a:normAutofit lnSpcReduction="10000"/>
          </a:bodyPr>
          <a:lstStyle/>
          <a:p>
            <a:r>
              <a:rPr lang="en-US" dirty="0"/>
              <a:t>How: AI as an emancipation tool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917A6E0-443C-2452-75A3-1A5032F912C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19725" y="2063355"/>
            <a:ext cx="1254300" cy="1254300"/>
          </a:xfrm>
          <a:prstGeom prst="rect">
            <a:avLst/>
          </a:prstGeom>
        </p:spPr>
      </p:pic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0D9CB84E-21A6-69B5-EC4D-D20F9CDA9CA0}"/>
              </a:ext>
            </a:extLst>
          </p:cNvPr>
          <p:cNvSpPr txBox="1">
            <a:spLocks/>
          </p:cNvSpPr>
          <p:nvPr/>
        </p:nvSpPr>
        <p:spPr>
          <a:xfrm>
            <a:off x="1419726" y="1398338"/>
            <a:ext cx="2414338" cy="665017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2133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Cordia New" panose="020B0304020202020204" pitchFamily="34" charset="-34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Cordia New" panose="020B0304020202020204" pitchFamily="34" charset="-34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Cordia New" panose="020B0304020202020204" pitchFamily="34" charset="-34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Cordia New" panose="020B0304020202020204" pitchFamily="34" charset="-34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Cordia New" panose="020B0304020202020204" pitchFamily="34" charset="-34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/>
              <a:t>In the short term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F049622D-0EBB-75E1-10E0-9830AC9E0FF5}"/>
              </a:ext>
            </a:extLst>
          </p:cNvPr>
          <p:cNvSpPr txBox="1">
            <a:spLocks/>
          </p:cNvSpPr>
          <p:nvPr/>
        </p:nvSpPr>
        <p:spPr>
          <a:xfrm>
            <a:off x="1419726" y="4117585"/>
            <a:ext cx="6216315" cy="181422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2133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Cordia New" panose="020B0304020202020204" pitchFamily="34" charset="-34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Cordia New" panose="020B0304020202020204" pitchFamily="34" charset="-34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Cordia New" panose="020B0304020202020204" pitchFamily="34" charset="-34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Cordia New" panose="020B0304020202020204" pitchFamily="34" charset="-34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Cordia New" panose="020B0304020202020204" pitchFamily="34" charset="-34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AI lowers the barrier to build services and products. We should </a:t>
            </a:r>
            <a:r>
              <a:rPr lang="en-US" b="1" dirty="0">
                <a:solidFill>
                  <a:srgbClr val="C00000"/>
                </a:solidFill>
              </a:rPr>
              <a:t>explore AI as an emancipation </a:t>
            </a:r>
            <a:r>
              <a:rPr lang="en-US" dirty="0"/>
              <a:t>tool: better coordination, circular economy, open non-profit platforms, information, open education…</a:t>
            </a:r>
            <a:endParaRPr lang="en-US" b="1" dirty="0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43B580E5-4922-6BAF-E15A-46B5BFA229E0}"/>
              </a:ext>
            </a:extLst>
          </p:cNvPr>
          <p:cNvSpPr txBox="1">
            <a:spLocks/>
          </p:cNvSpPr>
          <p:nvPr/>
        </p:nvSpPr>
        <p:spPr>
          <a:xfrm>
            <a:off x="1419726" y="3540345"/>
            <a:ext cx="2879558" cy="665017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2133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Cordia New" panose="020B0304020202020204" pitchFamily="34" charset="-34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Cordia New" panose="020B0304020202020204" pitchFamily="34" charset="-34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Cordia New" panose="020B0304020202020204" pitchFamily="34" charset="-34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Cordia New" panose="020B0304020202020204" pitchFamily="34" charset="-34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Cordia New" panose="020B0304020202020204" pitchFamily="34" charset="-34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/>
              <a:t>In the mid-long term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FFEC5B8B-6D4E-CB0E-59C1-65CBA4306DE1}"/>
              </a:ext>
            </a:extLst>
          </p:cNvPr>
          <p:cNvSpPr txBox="1">
            <a:spLocks/>
          </p:cNvSpPr>
          <p:nvPr/>
        </p:nvSpPr>
        <p:spPr>
          <a:xfrm>
            <a:off x="2812941" y="2183057"/>
            <a:ext cx="1810752" cy="665017"/>
          </a:xfrm>
          <a:prstGeom prst="rect">
            <a:avLst/>
          </a:prstGeom>
        </p:spPr>
        <p:txBody>
          <a:bodyPr anchor="ctr">
            <a:normAutofit fontScale="92500"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2133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Cordia New" panose="020B0304020202020204" pitchFamily="34" charset="-34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Cordia New" panose="020B0304020202020204" pitchFamily="34" charset="-34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Cordia New" panose="020B0304020202020204" pitchFamily="34" charset="-34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Cordia New" panose="020B0304020202020204" pitchFamily="34" charset="-34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Cordia New" panose="020B0304020202020204" pitchFamily="34" charset="-34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Robot taxes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FBB1CE16-B529-ADA7-1345-D151CB014C03}"/>
              </a:ext>
            </a:extLst>
          </p:cNvPr>
          <p:cNvSpPr txBox="1">
            <a:spLocks/>
          </p:cNvSpPr>
          <p:nvPr/>
        </p:nvSpPr>
        <p:spPr>
          <a:xfrm>
            <a:off x="2812940" y="2561755"/>
            <a:ext cx="8235687" cy="665017"/>
          </a:xfrm>
          <a:prstGeom prst="rect">
            <a:avLst/>
          </a:prstGeom>
        </p:spPr>
        <p:txBody>
          <a:bodyPr anchor="ctr">
            <a:normAutofit fontScale="92500"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2133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Cordia New" panose="020B0304020202020204" pitchFamily="34" charset="-34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Cordia New" panose="020B0304020202020204" pitchFamily="34" charset="-34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Cordia New" panose="020B0304020202020204" pitchFamily="34" charset="-34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Cordia New" panose="020B0304020202020204" pitchFamily="34" charset="-34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Cordia New" panose="020B0304020202020204" pitchFamily="34" charset="-34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No replacement by machine if quality of service deteriorates (e.g., hospital) </a:t>
            </a:r>
            <a:endParaRPr lang="en-US" sz="2000" b="1" dirty="0"/>
          </a:p>
        </p:txBody>
      </p:sp>
      <p:pic>
        <p:nvPicPr>
          <p:cNvPr id="15" name="Picture 4" descr="Autogestión: La propuesta anarquista – Portal Libertario OACA">
            <a:extLst>
              <a:ext uri="{FF2B5EF4-FFF2-40B4-BE49-F238E27FC236}">
                <a16:creationId xmlns:a16="http://schemas.microsoft.com/office/drawing/2014/main" id="{30C4CEC8-BEC5-2B45-DEAA-419F26FB80B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92718" y="3704741"/>
            <a:ext cx="2726843" cy="22270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6402209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4C7318-F185-21C5-E27F-8CCCA92818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9FDAF92-4561-0DFA-98D6-84B6126238A8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3633D75A-BE2D-484B-925B-BF3693E8768D}" type="slidenum">
              <a:rPr lang="en-US" smtClean="0"/>
              <a:pPr/>
              <a:t>19</a:t>
            </a:fld>
            <a:endParaRPr lang="en-US" dirty="0"/>
          </a:p>
        </p:txBody>
      </p:sp>
      <p:pic>
        <p:nvPicPr>
          <p:cNvPr id="7170" name="Picture 2">
            <a:extLst>
              <a:ext uri="{FF2B5EF4-FFF2-40B4-BE49-F238E27FC236}">
                <a16:creationId xmlns:a16="http://schemas.microsoft.com/office/drawing/2014/main" id="{3C0DF22E-8537-BC75-6F6A-A2CC385FC6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28101A6D-870B-1734-F023-3731585482F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01284" y="464696"/>
            <a:ext cx="5889261" cy="3792512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5FBDE072-5764-5D17-0589-FDFEBEF3D59B}"/>
              </a:ext>
            </a:extLst>
          </p:cNvPr>
          <p:cNvSpPr txBox="1"/>
          <p:nvPr/>
        </p:nvSpPr>
        <p:spPr>
          <a:xfrm>
            <a:off x="766624" y="3967722"/>
            <a:ext cx="3342080" cy="695062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400" dirty="0">
                <a:solidFill>
                  <a:schemeClr val="bg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ww.albertolumbreras.net</a:t>
            </a:r>
            <a:br>
              <a:rPr lang="en-US" sz="1400" dirty="0">
                <a:solidFill>
                  <a:schemeClr val="bg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n-US" sz="1400" dirty="0">
                <a:solidFill>
                  <a:schemeClr val="bg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lberto.lumbreras@gmail.com</a:t>
            </a:r>
          </a:p>
        </p:txBody>
      </p:sp>
    </p:spTree>
    <p:extLst>
      <p:ext uri="{BB962C8B-B14F-4D97-AF65-F5344CB8AC3E}">
        <p14:creationId xmlns:p14="http://schemas.microsoft.com/office/powerpoint/2010/main" val="339394713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24E1DC-909F-B1C0-092F-6B7FED6A2D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What is AI?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26A9FD7-BC95-1E2D-A8F0-3F2F852D511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sz="2400" dirty="0"/>
              <a:t>AI has moved forward with </a:t>
            </a:r>
            <a:r>
              <a:rPr lang="en-US" sz="2400" dirty="0">
                <a:solidFill>
                  <a:srgbClr val="00B050"/>
                </a:solidFill>
              </a:rPr>
              <a:t>Science</a:t>
            </a:r>
            <a:r>
              <a:rPr lang="en-US" sz="2400" dirty="0"/>
              <a:t> and </a:t>
            </a:r>
            <a:r>
              <a:rPr lang="en-US" sz="2400" dirty="0">
                <a:solidFill>
                  <a:srgbClr val="FF8759"/>
                </a:solidFill>
              </a:rPr>
              <a:t>Resources</a:t>
            </a:r>
            <a:endParaRPr lang="en-FR" sz="2400">
              <a:solidFill>
                <a:srgbClr val="FF8759"/>
              </a:solidFill>
            </a:endParaRPr>
          </a:p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9AAFB46-C904-91BE-201F-E259921B370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>
                <a:latin typeface="Helvetica" pitchFamily="2" charset="0"/>
              </a:rPr>
              <a:t> Alberto Lumbreras </a:t>
            </a:r>
            <a:r>
              <a:rPr lang="en-US" dirty="0"/>
              <a:t>| </a:t>
            </a:r>
            <a:fld id="{3633D75A-BE2D-484B-925B-BF3693E8768D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B7C8FCA1-4D96-F084-DFBE-48645DDCCA21}"/>
              </a:ext>
            </a:extLst>
          </p:cNvPr>
          <p:cNvSpPr/>
          <p:nvPr/>
        </p:nvSpPr>
        <p:spPr>
          <a:xfrm>
            <a:off x="1187922" y="1838670"/>
            <a:ext cx="4490802" cy="4374281"/>
          </a:xfrm>
          <a:prstGeom prst="ellipse">
            <a:avLst/>
          </a:prstGeom>
          <a:solidFill>
            <a:schemeClr val="accent5">
              <a:lumMod val="90000"/>
            </a:schemeClr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14214D8E-184B-0D2A-EBE0-05AB3FC8B2B2}"/>
              </a:ext>
            </a:extLst>
          </p:cNvPr>
          <p:cNvSpPr/>
          <p:nvPr/>
        </p:nvSpPr>
        <p:spPr>
          <a:xfrm>
            <a:off x="1708833" y="2740579"/>
            <a:ext cx="3487711" cy="3472372"/>
          </a:xfrm>
          <a:prstGeom prst="ellipse">
            <a:avLst/>
          </a:prstGeom>
          <a:solidFill>
            <a:srgbClr val="BCEFBE"/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3796BCC2-1802-52F4-8835-5DB0842B871A}"/>
              </a:ext>
            </a:extLst>
          </p:cNvPr>
          <p:cNvSpPr/>
          <p:nvPr/>
        </p:nvSpPr>
        <p:spPr>
          <a:xfrm>
            <a:off x="2049857" y="3525964"/>
            <a:ext cx="2698230" cy="2686987"/>
          </a:xfrm>
          <a:prstGeom prst="ellipse">
            <a:avLst/>
          </a:prstGeom>
          <a:solidFill>
            <a:srgbClr val="9ED08B"/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359B5581-10B6-6316-6530-89BAB3FD9445}"/>
              </a:ext>
            </a:extLst>
          </p:cNvPr>
          <p:cNvSpPr/>
          <p:nvPr/>
        </p:nvSpPr>
        <p:spPr>
          <a:xfrm>
            <a:off x="2537037" y="4623993"/>
            <a:ext cx="1723869" cy="1588958"/>
          </a:xfrm>
          <a:prstGeom prst="ellipse">
            <a:avLst/>
          </a:prstGeom>
          <a:solidFill>
            <a:srgbClr val="92D050"/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CA33E87-9C78-8633-2E59-2640B66BF837}"/>
              </a:ext>
            </a:extLst>
          </p:cNvPr>
          <p:cNvSpPr txBox="1"/>
          <p:nvPr/>
        </p:nvSpPr>
        <p:spPr>
          <a:xfrm>
            <a:off x="6402003" y="1632499"/>
            <a:ext cx="4490802" cy="91563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150" b="1" dirty="0">
                <a:latin typeface="HurmeGeometricSans1 Regular" panose="020B0500020000000000" pitchFamily="34" charset="0"/>
                <a:cs typeface="Cordia New" panose="020B0304020202020204" pitchFamily="34" charset="-34"/>
              </a:rPr>
              <a:t>Artificial Intelligence</a:t>
            </a:r>
            <a:r>
              <a:rPr lang="en-US" sz="2150" b="1" dirty="0">
                <a:latin typeface="Helvetica" pitchFamily="2" charset="0"/>
              </a:rPr>
              <a:t> </a:t>
            </a:r>
            <a:r>
              <a:rPr lang="en-US" sz="1600" dirty="0">
                <a:solidFill>
                  <a:schemeClr val="bg1">
                    <a:lumMod val="50000"/>
                  </a:schemeClr>
                </a:solidFill>
                <a:latin typeface="Helvetica" pitchFamily="2" charset="0"/>
              </a:rPr>
              <a:t>(1955)</a:t>
            </a:r>
          </a:p>
          <a:p>
            <a:r>
              <a:rPr lang="en-US" sz="1600" dirty="0">
                <a:latin typeface="Helvetica" pitchFamily="2" charset="0"/>
              </a:rPr>
              <a:t>Umbrella term. Not everyone likes it.</a:t>
            </a:r>
            <a:br>
              <a:rPr lang="en-US" sz="1600" dirty="0">
                <a:latin typeface="Helvetica" pitchFamily="2" charset="0"/>
              </a:rPr>
            </a:br>
            <a:r>
              <a:rPr lang="en-US" sz="1600" dirty="0">
                <a:solidFill>
                  <a:srgbClr val="00B050"/>
                </a:solidFill>
                <a:latin typeface="Helvetica" pitchFamily="2" charset="0"/>
              </a:rPr>
              <a:t>algorithms + </a:t>
            </a:r>
            <a:r>
              <a:rPr lang="en-US" sz="1600" dirty="0">
                <a:solidFill>
                  <a:schemeClr val="tx2">
                    <a:lumMod val="60000"/>
                    <a:lumOff val="40000"/>
                  </a:schemeClr>
                </a:solidFill>
                <a:latin typeface="Helvetica" pitchFamily="2" charset="0"/>
              </a:rPr>
              <a:t>computer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1698FA3-0EF4-A5A2-1423-07BAB1C389D7}"/>
              </a:ext>
            </a:extLst>
          </p:cNvPr>
          <p:cNvSpPr txBox="1"/>
          <p:nvPr/>
        </p:nvSpPr>
        <p:spPr>
          <a:xfrm>
            <a:off x="6402002" y="2724004"/>
            <a:ext cx="3934191" cy="66941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150" b="1" dirty="0">
                <a:latin typeface="HurmeGeometricSans1 Regular" panose="020B0500020000000000" pitchFamily="34" charset="0"/>
                <a:cs typeface="Cordia New" panose="020B0304020202020204" pitchFamily="34" charset="-34"/>
              </a:rPr>
              <a:t>Machine Learning </a:t>
            </a:r>
            <a:r>
              <a:rPr lang="en-US" sz="1600" dirty="0">
                <a:solidFill>
                  <a:schemeClr val="bg1">
                    <a:lumMod val="50000"/>
                  </a:schemeClr>
                </a:solidFill>
                <a:latin typeface="Helvetica" pitchFamily="2" charset="0"/>
              </a:rPr>
              <a:t>(1960)</a:t>
            </a:r>
            <a:br>
              <a:rPr lang="en-US" sz="2200" dirty="0">
                <a:latin typeface="Helvetica" pitchFamily="2" charset="0"/>
              </a:rPr>
            </a:br>
            <a:r>
              <a:rPr lang="en-US" sz="1600" dirty="0">
                <a:solidFill>
                  <a:srgbClr val="00B050"/>
                </a:solidFill>
                <a:latin typeface="Helvetica" pitchFamily="2" charset="0"/>
              </a:rPr>
              <a:t>+ statistics + </a:t>
            </a:r>
            <a:r>
              <a:rPr lang="en-US" sz="1600" dirty="0">
                <a:solidFill>
                  <a:schemeClr val="tx2">
                    <a:lumMod val="60000"/>
                    <a:lumOff val="40000"/>
                  </a:schemeClr>
                </a:solidFill>
                <a:latin typeface="Helvetica" pitchFamily="2" charset="0"/>
              </a:rPr>
              <a:t>data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3DAC888-CA47-F432-D5B0-959EF6B44512}"/>
              </a:ext>
            </a:extLst>
          </p:cNvPr>
          <p:cNvSpPr txBox="1"/>
          <p:nvPr/>
        </p:nvSpPr>
        <p:spPr>
          <a:xfrm>
            <a:off x="6402002" y="3604212"/>
            <a:ext cx="5122887" cy="66941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150" b="1" dirty="0">
                <a:latin typeface="HurmeGeometricSans1 Regular" panose="020B0500020000000000" pitchFamily="34" charset="0"/>
                <a:cs typeface="Cordia New" panose="020B0304020202020204" pitchFamily="34" charset="-34"/>
              </a:rPr>
              <a:t>Deep Learning </a:t>
            </a:r>
            <a:r>
              <a:rPr lang="en-US" sz="1600" dirty="0">
                <a:solidFill>
                  <a:schemeClr val="bg1">
                    <a:lumMod val="50000"/>
                  </a:schemeClr>
                </a:solidFill>
                <a:latin typeface="Helvetica" pitchFamily="2" charset="0"/>
              </a:rPr>
              <a:t>(2010)</a:t>
            </a:r>
            <a:br>
              <a:rPr lang="en-US" sz="2200" dirty="0">
                <a:latin typeface="Helvetica" pitchFamily="2" charset="0"/>
              </a:rPr>
            </a:br>
            <a:r>
              <a:rPr lang="en-US" sz="1600" dirty="0">
                <a:solidFill>
                  <a:srgbClr val="00B050"/>
                </a:solidFill>
                <a:latin typeface="Helvetica" pitchFamily="2" charset="0"/>
              </a:rPr>
              <a:t>+ neural networks + </a:t>
            </a:r>
            <a:r>
              <a:rPr lang="en-US" sz="1600" dirty="0">
                <a:solidFill>
                  <a:schemeClr val="tx2">
                    <a:lumMod val="60000"/>
                    <a:lumOff val="40000"/>
                  </a:schemeClr>
                </a:solidFill>
                <a:latin typeface="Helvetica" pitchFamily="2" charset="0"/>
              </a:rPr>
              <a:t>computing power + lots of data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D6423E0-CFEC-D955-508D-46D5EE64A867}"/>
              </a:ext>
            </a:extLst>
          </p:cNvPr>
          <p:cNvSpPr txBox="1"/>
          <p:nvPr/>
        </p:nvSpPr>
        <p:spPr>
          <a:xfrm>
            <a:off x="6402003" y="4947053"/>
            <a:ext cx="4397178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150" b="1" dirty="0">
                <a:latin typeface="HurmeGeometricSans1 Regular" panose="020B0500020000000000" pitchFamily="34" charset="0"/>
                <a:cs typeface="Cordia New" panose="020B0304020202020204" pitchFamily="34" charset="-34"/>
              </a:rPr>
              <a:t>Large Language Models </a:t>
            </a:r>
            <a:r>
              <a:rPr lang="en-US" sz="1600" dirty="0">
                <a:solidFill>
                  <a:schemeClr val="bg1">
                    <a:lumMod val="50000"/>
                  </a:schemeClr>
                </a:solidFill>
                <a:latin typeface="Helvetica" pitchFamily="2" charset="0"/>
              </a:rPr>
              <a:t>(2018)</a:t>
            </a:r>
            <a:br>
              <a:rPr lang="en-US" sz="1600" dirty="0">
                <a:solidFill>
                  <a:schemeClr val="bg1">
                    <a:lumMod val="50000"/>
                  </a:schemeClr>
                </a:solidFill>
                <a:latin typeface="Helvetica" pitchFamily="2" charset="0"/>
              </a:rPr>
            </a:br>
            <a:r>
              <a:rPr lang="en-US" sz="1600" dirty="0">
                <a:solidFill>
                  <a:schemeClr val="tx2">
                    <a:lumMod val="60000"/>
                    <a:lumOff val="40000"/>
                  </a:schemeClr>
                </a:solidFill>
                <a:latin typeface="Helvetica" pitchFamily="2" charset="0"/>
              </a:rPr>
              <a:t>+ parallel computing + much more data</a:t>
            </a:r>
            <a:br>
              <a:rPr lang="en-US" dirty="0">
                <a:solidFill>
                  <a:schemeClr val="tx2">
                    <a:lumMod val="60000"/>
                    <a:lumOff val="40000"/>
                  </a:schemeClr>
                </a:solidFill>
                <a:latin typeface="Helvetica" pitchFamily="2" charset="0"/>
              </a:rPr>
            </a:br>
            <a:r>
              <a:rPr lang="en-US" sz="1600" dirty="0">
                <a:latin typeface="Helvetica" pitchFamily="2" charset="0"/>
              </a:rPr>
              <a:t>(ChatGPT)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7C55A89-DD38-5EF5-4B5E-1E2FCCB640AF}"/>
              </a:ext>
            </a:extLst>
          </p:cNvPr>
          <p:cNvSpPr txBox="1"/>
          <p:nvPr/>
        </p:nvSpPr>
        <p:spPr>
          <a:xfrm>
            <a:off x="3160064" y="3724632"/>
            <a:ext cx="47781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DL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8AD0CF9-71CD-D2AE-1C46-8DF87091C130}"/>
              </a:ext>
            </a:extLst>
          </p:cNvPr>
          <p:cNvSpPr txBox="1"/>
          <p:nvPr/>
        </p:nvSpPr>
        <p:spPr>
          <a:xfrm>
            <a:off x="3165220" y="2854868"/>
            <a:ext cx="57493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ML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525E79A-2491-E174-313C-67F35D130084}"/>
              </a:ext>
            </a:extLst>
          </p:cNvPr>
          <p:cNvSpPr txBox="1"/>
          <p:nvPr/>
        </p:nvSpPr>
        <p:spPr>
          <a:xfrm>
            <a:off x="3249067" y="1929034"/>
            <a:ext cx="57493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IA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E10FD003-AE28-E194-1B5B-2B96A20FF072}"/>
              </a:ext>
            </a:extLst>
          </p:cNvPr>
          <p:cNvCxnSpPr>
            <a:cxnSpLocks/>
            <a:stCxn id="17" idx="3"/>
            <a:endCxn id="11" idx="1"/>
          </p:cNvCxnSpPr>
          <p:nvPr/>
        </p:nvCxnSpPr>
        <p:spPr>
          <a:xfrm flipV="1">
            <a:off x="3824003" y="2090317"/>
            <a:ext cx="2578000" cy="23383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849578CB-A6F0-8BC1-8AC0-D73343B562DC}"/>
              </a:ext>
            </a:extLst>
          </p:cNvPr>
          <p:cNvCxnSpPr>
            <a:cxnSpLocks/>
            <a:stCxn id="16" idx="3"/>
            <a:endCxn id="12" idx="1"/>
          </p:cNvCxnSpPr>
          <p:nvPr/>
        </p:nvCxnSpPr>
        <p:spPr>
          <a:xfrm>
            <a:off x="3740156" y="3039534"/>
            <a:ext cx="2661846" cy="19177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9C054702-4194-E382-7D06-17D7D21B5AC1}"/>
              </a:ext>
            </a:extLst>
          </p:cNvPr>
          <p:cNvCxnSpPr>
            <a:cxnSpLocks/>
            <a:stCxn id="15" idx="3"/>
            <a:endCxn id="13" idx="1"/>
          </p:cNvCxnSpPr>
          <p:nvPr/>
        </p:nvCxnSpPr>
        <p:spPr>
          <a:xfrm>
            <a:off x="3637877" y="3909298"/>
            <a:ext cx="2764125" cy="29621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70FEB94D-B682-22E0-2F76-B51B35ACF9D2}"/>
              </a:ext>
            </a:extLst>
          </p:cNvPr>
          <p:cNvCxnSpPr>
            <a:cxnSpLocks/>
            <a:stCxn id="22" idx="3"/>
            <a:endCxn id="14" idx="1"/>
          </p:cNvCxnSpPr>
          <p:nvPr/>
        </p:nvCxnSpPr>
        <p:spPr>
          <a:xfrm flipV="1">
            <a:off x="3741948" y="5408718"/>
            <a:ext cx="2660055" cy="28707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903A0F9B-C329-5818-9929-27FE122EBFA4}"/>
              </a:ext>
            </a:extLst>
          </p:cNvPr>
          <p:cNvSpPr txBox="1"/>
          <p:nvPr/>
        </p:nvSpPr>
        <p:spPr>
          <a:xfrm>
            <a:off x="3055991" y="5252759"/>
            <a:ext cx="68595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LLM</a:t>
            </a:r>
          </a:p>
        </p:txBody>
      </p:sp>
    </p:spTree>
    <p:extLst>
      <p:ext uri="{BB962C8B-B14F-4D97-AF65-F5344CB8AC3E}">
        <p14:creationId xmlns:p14="http://schemas.microsoft.com/office/powerpoint/2010/main" val="42721621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24C214-AE3C-16E2-2195-273CAA35FD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FR"/>
              <a:t>What is a language model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604A2BD-F7FA-A373-1638-FA753B03650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sz="2300" dirty="0"/>
              <a:t>A model that learns the probability of each possible sentence </a:t>
            </a:r>
          </a:p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BFD3C52-0891-3C21-6573-F1353BF3B93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>
                <a:latin typeface="Helvetica" pitchFamily="2" charset="0"/>
              </a:rPr>
              <a:t> Alberto Lumbreras </a:t>
            </a:r>
            <a:r>
              <a:rPr lang="en-US" dirty="0"/>
              <a:t>| </a:t>
            </a:r>
            <a:fld id="{3633D75A-BE2D-484B-925B-BF3693E8768D}" type="slidenum">
              <a:rPr lang="en-US" smtClean="0"/>
              <a:pPr/>
              <a:t>3</a:t>
            </a:fld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831A006-C3C7-7A86-7422-BF36786D58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27583" y="1382233"/>
            <a:ext cx="8771526" cy="43293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211171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09DBDD-F274-4FAC-58BB-4BA5976FE0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How are language models </a:t>
            </a:r>
            <a:r>
              <a:rPr lang="en-US" i="1" dirty="0"/>
              <a:t>trained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B55E53E-8BCB-B2AC-B8EB-154981FB931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>
            <a:normAutofit lnSpcReduction="10000"/>
          </a:bodyPr>
          <a:lstStyle/>
          <a:p>
            <a:r>
              <a:rPr lang="en-US" dirty="0"/>
              <a:t>A stunningly simple metho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A041355-EEAF-6373-145E-795AAA0869E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633D75A-BE2D-484B-925B-BF3693E8768D}" type="slidenum">
              <a:rPr lang="en-US" smtClean="0"/>
              <a:pPr/>
              <a:t>4</a:t>
            </a:fld>
            <a:endParaRPr lang="en-US" dirty="0"/>
          </a:p>
        </p:txBody>
      </p:sp>
      <p:pic>
        <p:nvPicPr>
          <p:cNvPr id="8" name="Picture 2" descr="Wikipedia Logo : histoire, signification de l'emblème">
            <a:extLst>
              <a:ext uri="{FF2B5EF4-FFF2-40B4-BE49-F238E27FC236}">
                <a16:creationId xmlns:a16="http://schemas.microsoft.com/office/drawing/2014/main" id="{7E49A255-A4B8-2783-F5E0-AE39F028C6A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50565" y="2234449"/>
            <a:ext cx="1683424" cy="9427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4" descr="Reddit Logo PNG vector in SVG, PDF, AI, CDR format">
            <a:extLst>
              <a:ext uri="{FF2B5EF4-FFF2-40B4-BE49-F238E27FC236}">
                <a16:creationId xmlns:a16="http://schemas.microsoft.com/office/drawing/2014/main" id="{46548434-6B31-3C51-2DA7-D495B631B3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93614" y="2023439"/>
            <a:ext cx="1795636" cy="13449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7ACA27A-6803-D8FB-B485-2195970A123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1551" y="2139901"/>
            <a:ext cx="955123" cy="9551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38B82E01-BFFC-E795-7D2A-FC8E85765C04}"/>
              </a:ext>
            </a:extLst>
          </p:cNvPr>
          <p:cNvSpPr/>
          <p:nvPr/>
        </p:nvSpPr>
        <p:spPr>
          <a:xfrm>
            <a:off x="960063" y="2036616"/>
            <a:ext cx="4174970" cy="1291192"/>
          </a:xfrm>
          <a:prstGeom prst="roundRect">
            <a:avLst>
              <a:gd name="adj" fmla="val 12054"/>
            </a:avLst>
          </a:prstGeom>
          <a:noFill/>
          <a:ln w="9525" cap="flat" cmpd="sng" algn="ctr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FR">
              <a:solidFill>
                <a:schemeClr val="tx1"/>
              </a:solidFill>
              <a:latin typeface="HurmeGeometricSans1 Regular" panose="020B0500020000000000" pitchFamily="34" charset="0"/>
              <a:cs typeface="Cordia New" panose="020B0304020202020204" pitchFamily="34" charset="-34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246932B-90C7-26FD-36E5-3262588E2E1B}"/>
              </a:ext>
            </a:extLst>
          </p:cNvPr>
          <p:cNvSpPr txBox="1"/>
          <p:nvPr/>
        </p:nvSpPr>
        <p:spPr>
          <a:xfrm>
            <a:off x="554465" y="6079711"/>
            <a:ext cx="412418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i="1" dirty="0"/>
              <a:t>Arriba parias de la </a:t>
            </a:r>
            <a:r>
              <a:rPr lang="en-US" i="1" dirty="0">
                <a:solidFill>
                  <a:schemeClr val="bg1">
                    <a:lumMod val="75000"/>
                  </a:schemeClr>
                </a:solidFill>
              </a:rPr>
              <a:t>Tierra</a:t>
            </a:r>
            <a:r>
              <a:rPr lang="en-FR" i="1">
                <a:solidFill>
                  <a:schemeClr val="bg1">
                    <a:lumMod val="75000"/>
                  </a:schemeClr>
                </a:solidFill>
              </a:rPr>
              <a:t> […]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68CBD31-1124-4972-C42F-469B01A44760}"/>
              </a:ext>
            </a:extLst>
          </p:cNvPr>
          <p:cNvSpPr txBox="1"/>
          <p:nvPr/>
        </p:nvSpPr>
        <p:spPr>
          <a:xfrm>
            <a:off x="1265055" y="3589342"/>
            <a:ext cx="103074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dirty="0"/>
              <a:t>piedra</a:t>
            </a:r>
            <a:endParaRPr lang="en-FR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2CD40B5D-C276-4226-A63B-B3816B7F82EB}"/>
              </a:ext>
            </a:extLst>
          </p:cNvPr>
          <p:cNvSpPr/>
          <p:nvPr/>
        </p:nvSpPr>
        <p:spPr>
          <a:xfrm>
            <a:off x="979503" y="4535472"/>
            <a:ext cx="1511156" cy="800219"/>
          </a:xfrm>
          <a:prstGeom prst="roundRect">
            <a:avLst>
              <a:gd name="adj" fmla="val 12054"/>
            </a:avLst>
          </a:prstGeom>
          <a:solidFill>
            <a:schemeClr val="accent4"/>
          </a:solidFill>
          <a:ln w="2857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HurmeGeometricSans1 Regular" panose="020B0500020000000000" pitchFamily="34" charset="0"/>
                <a:cs typeface="Cordia New" panose="020B0304020202020204" pitchFamily="34" charset="-34"/>
              </a:rPr>
              <a:t>Neural Network</a:t>
            </a:r>
            <a:endParaRPr lang="en-FR">
              <a:solidFill>
                <a:schemeClr val="tx1"/>
              </a:solidFill>
              <a:latin typeface="HurmeGeometricSans1 Regular" panose="020B0500020000000000" pitchFamily="34" charset="0"/>
              <a:cs typeface="Cordia New" panose="020B0304020202020204" pitchFamily="34" charset="-34"/>
            </a:endParaRPr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D09ED262-A636-562D-A580-9F23A48310FF}"/>
              </a:ext>
            </a:extLst>
          </p:cNvPr>
          <p:cNvCxnSpPr>
            <a:cxnSpLocks/>
            <a:endCxn id="13" idx="2"/>
          </p:cNvCxnSpPr>
          <p:nvPr/>
        </p:nvCxnSpPr>
        <p:spPr>
          <a:xfrm flipV="1">
            <a:off x="1768622" y="3958674"/>
            <a:ext cx="11807" cy="433344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04C2E6CA-7763-92C1-D591-113D8FECEEA3}"/>
              </a:ext>
            </a:extLst>
          </p:cNvPr>
          <p:cNvCxnSpPr>
            <a:cxnSpLocks/>
          </p:cNvCxnSpPr>
          <p:nvPr/>
        </p:nvCxnSpPr>
        <p:spPr>
          <a:xfrm flipV="1">
            <a:off x="1766190" y="5589986"/>
            <a:ext cx="0" cy="431858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Elbow Connector 16">
            <a:extLst>
              <a:ext uri="{FF2B5EF4-FFF2-40B4-BE49-F238E27FC236}">
                <a16:creationId xmlns:a16="http://schemas.microsoft.com/office/drawing/2014/main" id="{EFB829D7-3F2B-346E-7F22-99AE0380514B}"/>
              </a:ext>
            </a:extLst>
          </p:cNvPr>
          <p:cNvCxnSpPr>
            <a:cxnSpLocks/>
            <a:stCxn id="13" idx="3"/>
            <a:endCxn id="14" idx="3"/>
          </p:cNvCxnSpPr>
          <p:nvPr/>
        </p:nvCxnSpPr>
        <p:spPr>
          <a:xfrm>
            <a:off x="2295802" y="3774008"/>
            <a:ext cx="194857" cy="1161574"/>
          </a:xfrm>
          <a:prstGeom prst="bentConnector3">
            <a:avLst>
              <a:gd name="adj1" fmla="val 217317"/>
            </a:avLst>
          </a:prstGeom>
          <a:ln w="285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113E9B8A-18C0-2761-1227-D72E728A2DB8}"/>
              </a:ext>
            </a:extLst>
          </p:cNvPr>
          <p:cNvSpPr txBox="1"/>
          <p:nvPr/>
        </p:nvSpPr>
        <p:spPr>
          <a:xfrm>
            <a:off x="8393968" y="6079711"/>
            <a:ext cx="324409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i="1" dirty="0"/>
              <a:t>Arriba parias de la </a:t>
            </a:r>
            <a:r>
              <a:rPr lang="en-US" i="1" dirty="0">
                <a:solidFill>
                  <a:schemeClr val="bg1">
                    <a:lumMod val="75000"/>
                  </a:schemeClr>
                </a:solidFill>
              </a:rPr>
              <a:t>Tierra</a:t>
            </a:r>
            <a:r>
              <a:rPr lang="en-FR" i="1">
                <a:solidFill>
                  <a:schemeClr val="bg1">
                    <a:lumMod val="75000"/>
                  </a:schemeClr>
                </a:solidFill>
              </a:rPr>
              <a:t> […]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1D5FAE7-46BD-5AF6-14C3-A870F378F78C}"/>
              </a:ext>
            </a:extLst>
          </p:cNvPr>
          <p:cNvSpPr txBox="1"/>
          <p:nvPr/>
        </p:nvSpPr>
        <p:spPr>
          <a:xfrm>
            <a:off x="9233678" y="3589342"/>
            <a:ext cx="103074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dirty="0"/>
              <a:t>Tierra</a:t>
            </a:r>
            <a:endParaRPr lang="en-FR"/>
          </a:p>
        </p:txBody>
      </p:sp>
      <p:sp>
        <p:nvSpPr>
          <p:cNvPr id="20" name="Rounded Rectangle 19">
            <a:extLst>
              <a:ext uri="{FF2B5EF4-FFF2-40B4-BE49-F238E27FC236}">
                <a16:creationId xmlns:a16="http://schemas.microsoft.com/office/drawing/2014/main" id="{699016CD-A9DB-F570-1305-50C91A72A84F}"/>
              </a:ext>
            </a:extLst>
          </p:cNvPr>
          <p:cNvSpPr/>
          <p:nvPr/>
        </p:nvSpPr>
        <p:spPr>
          <a:xfrm>
            <a:off x="9265742" y="4535472"/>
            <a:ext cx="1145829" cy="800219"/>
          </a:xfrm>
          <a:prstGeom prst="roundRect">
            <a:avLst>
              <a:gd name="adj" fmla="val 12054"/>
            </a:avLst>
          </a:prstGeom>
          <a:solidFill>
            <a:schemeClr val="accent4"/>
          </a:solidFill>
          <a:ln w="2857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HurmeGeometricSans1 Regular" panose="020B0500020000000000" pitchFamily="34" charset="0"/>
                <a:cs typeface="Cordia New" panose="020B0304020202020204" pitchFamily="34" charset="-34"/>
              </a:rPr>
              <a:t>Neural Network</a:t>
            </a:r>
            <a:endParaRPr lang="en-FR">
              <a:solidFill>
                <a:schemeClr val="tx1"/>
              </a:solidFill>
              <a:latin typeface="HurmeGeometricSans1 Regular" panose="020B0500020000000000" pitchFamily="34" charset="0"/>
              <a:cs typeface="Cordia New" panose="020B0304020202020204" pitchFamily="34" charset="-34"/>
            </a:endParaRPr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D8FEADA6-ED43-9F3C-2C9D-14BC1239DB75}"/>
              </a:ext>
            </a:extLst>
          </p:cNvPr>
          <p:cNvCxnSpPr>
            <a:cxnSpLocks/>
            <a:endCxn id="19" idx="2"/>
          </p:cNvCxnSpPr>
          <p:nvPr/>
        </p:nvCxnSpPr>
        <p:spPr>
          <a:xfrm flipV="1">
            <a:off x="9749052" y="3958674"/>
            <a:ext cx="0" cy="359484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FEC95253-127D-C2F8-B36E-9B62D639C7C8}"/>
              </a:ext>
            </a:extLst>
          </p:cNvPr>
          <p:cNvCxnSpPr>
            <a:cxnSpLocks/>
          </p:cNvCxnSpPr>
          <p:nvPr/>
        </p:nvCxnSpPr>
        <p:spPr>
          <a:xfrm flipV="1">
            <a:off x="9737798" y="5595357"/>
            <a:ext cx="0" cy="426487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Elbow Connector 22">
            <a:extLst>
              <a:ext uri="{FF2B5EF4-FFF2-40B4-BE49-F238E27FC236}">
                <a16:creationId xmlns:a16="http://schemas.microsoft.com/office/drawing/2014/main" id="{14E2CDDF-00C9-7001-1F4E-EADD7C338D60}"/>
              </a:ext>
            </a:extLst>
          </p:cNvPr>
          <p:cNvCxnSpPr>
            <a:cxnSpLocks/>
            <a:stCxn id="19" idx="3"/>
            <a:endCxn id="20" idx="3"/>
          </p:cNvCxnSpPr>
          <p:nvPr/>
        </p:nvCxnSpPr>
        <p:spPr>
          <a:xfrm>
            <a:off x="10264425" y="3774008"/>
            <a:ext cx="147146" cy="1161574"/>
          </a:xfrm>
          <a:prstGeom prst="bentConnector3">
            <a:avLst>
              <a:gd name="adj1" fmla="val 255356"/>
            </a:avLst>
          </a:prstGeom>
          <a:ln w="28575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Oval 23">
            <a:extLst>
              <a:ext uri="{FF2B5EF4-FFF2-40B4-BE49-F238E27FC236}">
                <a16:creationId xmlns:a16="http://schemas.microsoft.com/office/drawing/2014/main" id="{675ABA3F-5182-9E49-2DAB-533CF109F2F1}"/>
              </a:ext>
            </a:extLst>
          </p:cNvPr>
          <p:cNvSpPr/>
          <p:nvPr/>
        </p:nvSpPr>
        <p:spPr>
          <a:xfrm>
            <a:off x="2869611" y="3901544"/>
            <a:ext cx="584612" cy="551779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-1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430B511E-E994-9983-7DB0-168A444CDA54}"/>
              </a:ext>
            </a:extLst>
          </p:cNvPr>
          <p:cNvSpPr/>
          <p:nvPr/>
        </p:nvSpPr>
        <p:spPr>
          <a:xfrm>
            <a:off x="10814059" y="3995487"/>
            <a:ext cx="584612" cy="551779"/>
          </a:xfrm>
          <a:prstGeom prst="ellipse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+1</a:t>
            </a:r>
          </a:p>
        </p:txBody>
      </p:sp>
      <p:sp>
        <p:nvSpPr>
          <p:cNvPr id="26" name="Right Arrow 25">
            <a:extLst>
              <a:ext uri="{FF2B5EF4-FFF2-40B4-BE49-F238E27FC236}">
                <a16:creationId xmlns:a16="http://schemas.microsoft.com/office/drawing/2014/main" id="{6227756E-E09F-B5C7-5936-D4508D079EE8}"/>
              </a:ext>
            </a:extLst>
          </p:cNvPr>
          <p:cNvSpPr/>
          <p:nvPr/>
        </p:nvSpPr>
        <p:spPr>
          <a:xfrm>
            <a:off x="2984794" y="4729921"/>
            <a:ext cx="536612" cy="512607"/>
          </a:xfrm>
          <a:prstGeom prst="rightArrow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7" name="Right Arrow 26">
            <a:extLst>
              <a:ext uri="{FF2B5EF4-FFF2-40B4-BE49-F238E27FC236}">
                <a16:creationId xmlns:a16="http://schemas.microsoft.com/office/drawing/2014/main" id="{1BA851F5-F0BB-361A-EF3D-68CCBA7BADEB}"/>
              </a:ext>
            </a:extLst>
          </p:cNvPr>
          <p:cNvSpPr/>
          <p:nvPr/>
        </p:nvSpPr>
        <p:spPr>
          <a:xfrm>
            <a:off x="8342096" y="4706108"/>
            <a:ext cx="758382" cy="512607"/>
          </a:xfrm>
          <a:prstGeom prst="rightArrow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8" name="Rounded Rectangle 27">
            <a:extLst>
              <a:ext uri="{FF2B5EF4-FFF2-40B4-BE49-F238E27FC236}">
                <a16:creationId xmlns:a16="http://schemas.microsoft.com/office/drawing/2014/main" id="{34A9914A-F8C2-C5A9-F6C2-D17E78C4F9FE}"/>
              </a:ext>
            </a:extLst>
          </p:cNvPr>
          <p:cNvSpPr/>
          <p:nvPr/>
        </p:nvSpPr>
        <p:spPr>
          <a:xfrm>
            <a:off x="3777114" y="4586114"/>
            <a:ext cx="1145829" cy="800219"/>
          </a:xfrm>
          <a:prstGeom prst="roundRect">
            <a:avLst>
              <a:gd name="adj" fmla="val 12054"/>
            </a:avLst>
          </a:prstGeom>
          <a:solidFill>
            <a:schemeClr val="accent4"/>
          </a:solidFill>
          <a:ln w="2857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HurmeGeometricSans1 Regular" panose="020B0500020000000000" pitchFamily="34" charset="0"/>
                <a:cs typeface="Cordia New" panose="020B0304020202020204" pitchFamily="34" charset="-34"/>
              </a:rPr>
              <a:t>Neural Network</a:t>
            </a:r>
            <a:endParaRPr lang="en-FR">
              <a:solidFill>
                <a:schemeClr val="tx1"/>
              </a:solidFill>
              <a:latin typeface="HurmeGeometricSans1 Regular" panose="020B0500020000000000" pitchFamily="34" charset="0"/>
              <a:cs typeface="Cordia New" panose="020B0304020202020204" pitchFamily="34" charset="-34"/>
            </a:endParaRPr>
          </a:p>
        </p:txBody>
      </p:sp>
      <p:sp>
        <p:nvSpPr>
          <p:cNvPr id="29" name="Rounded Rectangle 28">
            <a:extLst>
              <a:ext uri="{FF2B5EF4-FFF2-40B4-BE49-F238E27FC236}">
                <a16:creationId xmlns:a16="http://schemas.microsoft.com/office/drawing/2014/main" id="{7AB3FC6F-6F71-00C0-41AF-CA5EB484531C}"/>
              </a:ext>
            </a:extLst>
          </p:cNvPr>
          <p:cNvSpPr/>
          <p:nvPr/>
        </p:nvSpPr>
        <p:spPr>
          <a:xfrm>
            <a:off x="6938581" y="4558474"/>
            <a:ext cx="1145829" cy="800219"/>
          </a:xfrm>
          <a:prstGeom prst="roundRect">
            <a:avLst>
              <a:gd name="adj" fmla="val 12054"/>
            </a:avLst>
          </a:prstGeom>
          <a:solidFill>
            <a:schemeClr val="accent4"/>
          </a:solidFill>
          <a:ln w="2857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HurmeGeometricSans1 Regular" panose="020B0500020000000000" pitchFamily="34" charset="0"/>
                <a:cs typeface="Cordia New" panose="020B0304020202020204" pitchFamily="34" charset="-34"/>
              </a:rPr>
              <a:t>Neural Network</a:t>
            </a:r>
            <a:endParaRPr lang="en-FR">
              <a:solidFill>
                <a:schemeClr val="tx1"/>
              </a:solidFill>
              <a:latin typeface="HurmeGeometricSans1 Regular" panose="020B0500020000000000" pitchFamily="34" charset="0"/>
              <a:cs typeface="Cordia New" panose="020B0304020202020204" pitchFamily="34" charset="-34"/>
            </a:endParaRPr>
          </a:p>
        </p:txBody>
      </p:sp>
      <p:sp>
        <p:nvSpPr>
          <p:cNvPr id="30" name="Right Arrow 29">
            <a:extLst>
              <a:ext uri="{FF2B5EF4-FFF2-40B4-BE49-F238E27FC236}">
                <a16:creationId xmlns:a16="http://schemas.microsoft.com/office/drawing/2014/main" id="{BFFE9583-87DB-92CC-7C20-4A3AE6595B48}"/>
              </a:ext>
            </a:extLst>
          </p:cNvPr>
          <p:cNvSpPr/>
          <p:nvPr/>
        </p:nvSpPr>
        <p:spPr>
          <a:xfrm>
            <a:off x="5110553" y="4763306"/>
            <a:ext cx="536612" cy="512607"/>
          </a:xfrm>
          <a:prstGeom prst="rightArrow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5CC003D1-E07A-96E6-E1A1-A245FCB9A913}"/>
              </a:ext>
            </a:extLst>
          </p:cNvPr>
          <p:cNvSpPr txBox="1"/>
          <p:nvPr/>
        </p:nvSpPr>
        <p:spPr>
          <a:xfrm>
            <a:off x="5721753" y="4448355"/>
            <a:ext cx="1030747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4800" b="1" dirty="0"/>
              <a:t>…</a:t>
            </a:r>
            <a:endParaRPr lang="en-FR" sz="4800" b="1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240A0A66-9851-D66B-10BE-2979AA257B96}"/>
              </a:ext>
            </a:extLst>
          </p:cNvPr>
          <p:cNvSpPr txBox="1"/>
          <p:nvPr/>
        </p:nvSpPr>
        <p:spPr>
          <a:xfrm>
            <a:off x="3747256" y="3674564"/>
            <a:ext cx="508202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i="1" dirty="0"/>
              <a:t>Update the network and </a:t>
            </a:r>
          </a:p>
          <a:p>
            <a:pPr algn="ctr"/>
            <a:r>
              <a:rPr lang="en-US" i="1" dirty="0"/>
              <a:t>repeat until error is low </a:t>
            </a:r>
            <a:endParaRPr lang="en-FR" i="1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04B4B697-99EB-EA69-D855-9187F4137BCF}"/>
              </a:ext>
            </a:extLst>
          </p:cNvPr>
          <p:cNvSpPr txBox="1"/>
          <p:nvPr/>
        </p:nvSpPr>
        <p:spPr>
          <a:xfrm>
            <a:off x="960063" y="1706862"/>
            <a:ext cx="3728174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500" b="1" dirty="0"/>
              <a:t>Huge corpus of </a:t>
            </a:r>
            <a:r>
              <a:rPr lang="en-US" sz="1500" b="1" i="1" dirty="0"/>
              <a:t>user-generated</a:t>
            </a:r>
            <a:r>
              <a:rPr lang="en-US" sz="1500" b="1" dirty="0"/>
              <a:t> data:</a:t>
            </a:r>
            <a:endParaRPr lang="en-FR" sz="1500" b="1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E86BD361-EF44-0545-FD59-7C8244EF3E8C}"/>
              </a:ext>
            </a:extLst>
          </p:cNvPr>
          <p:cNvSpPr txBox="1"/>
          <p:nvPr/>
        </p:nvSpPr>
        <p:spPr>
          <a:xfrm>
            <a:off x="5497105" y="1746350"/>
            <a:ext cx="5554172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1500" b="1"/>
            </a:lvl1pPr>
          </a:lstStyle>
          <a:p>
            <a:r>
              <a:rPr lang="en-US" dirty="0"/>
              <a:t>Huge computing power (for big and fast networks):</a:t>
            </a:r>
            <a:endParaRPr lang="en-FR"/>
          </a:p>
        </p:txBody>
      </p:sp>
      <p:sp>
        <p:nvSpPr>
          <p:cNvPr id="35" name="Rounded Rectangle 34">
            <a:extLst>
              <a:ext uri="{FF2B5EF4-FFF2-40B4-BE49-F238E27FC236}">
                <a16:creationId xmlns:a16="http://schemas.microsoft.com/office/drawing/2014/main" id="{EA4A0114-6495-7B57-317E-C987B528BAB2}"/>
              </a:ext>
            </a:extLst>
          </p:cNvPr>
          <p:cNvSpPr/>
          <p:nvPr/>
        </p:nvSpPr>
        <p:spPr>
          <a:xfrm>
            <a:off x="5480797" y="2060571"/>
            <a:ext cx="5128407" cy="1291192"/>
          </a:xfrm>
          <a:prstGeom prst="roundRect">
            <a:avLst>
              <a:gd name="adj" fmla="val 12054"/>
            </a:avLst>
          </a:prstGeom>
          <a:noFill/>
          <a:ln w="9525" cap="flat" cmpd="sng" algn="ctr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FR">
              <a:solidFill>
                <a:schemeClr val="tx1"/>
              </a:solidFill>
              <a:latin typeface="HurmeGeometricSans1 Regular" panose="020B0500020000000000" pitchFamily="34" charset="0"/>
              <a:cs typeface="Cordia New" panose="020B0304020202020204" pitchFamily="34" charset="-34"/>
            </a:endParaRPr>
          </a:p>
        </p:txBody>
      </p:sp>
      <p:pic>
        <p:nvPicPr>
          <p:cNvPr id="36" name="Picture 10" descr="NVIDIA MXM GPU cards - Advantech">
            <a:extLst>
              <a:ext uri="{FF2B5EF4-FFF2-40B4-BE49-F238E27FC236}">
                <a16:creationId xmlns:a16="http://schemas.microsoft.com/office/drawing/2014/main" id="{980BB53B-2BD4-C337-3AC1-EE02411C40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3999" y="2232685"/>
            <a:ext cx="1708604" cy="9584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TextBox 36">
            <a:extLst>
              <a:ext uri="{FF2B5EF4-FFF2-40B4-BE49-F238E27FC236}">
                <a16:creationId xmlns:a16="http://schemas.microsoft.com/office/drawing/2014/main" id="{FB75DC18-F693-6AAA-13B5-8B85BC0600FA}"/>
              </a:ext>
            </a:extLst>
          </p:cNvPr>
          <p:cNvSpPr txBox="1"/>
          <p:nvPr/>
        </p:nvSpPr>
        <p:spPr>
          <a:xfrm>
            <a:off x="7122744" y="2517391"/>
            <a:ext cx="279728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dirty="0"/>
              <a:t>x 3000</a:t>
            </a:r>
            <a:endParaRPr lang="en-FR"/>
          </a:p>
        </p:txBody>
      </p:sp>
    </p:spTree>
    <p:extLst>
      <p:ext uri="{BB962C8B-B14F-4D97-AF65-F5344CB8AC3E}">
        <p14:creationId xmlns:p14="http://schemas.microsoft.com/office/powerpoint/2010/main" val="394557491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72182F4-6C09-FF32-2D72-9BD36EDC884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>
                <a:latin typeface="Helvetica" pitchFamily="2" charset="0"/>
              </a:rPr>
              <a:t> Alberto Lumbreras </a:t>
            </a:r>
            <a:r>
              <a:rPr lang="en-US" dirty="0"/>
              <a:t>| </a:t>
            </a:r>
            <a:fld id="{3633D75A-BE2D-484B-925B-BF3693E8768D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D526FD03-ACDD-1232-5584-B48ED98DA9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9775" y="571751"/>
            <a:ext cx="10134599" cy="456437"/>
          </a:xfrm>
        </p:spPr>
        <p:txBody>
          <a:bodyPr>
            <a:normAutofit fontScale="90000"/>
          </a:bodyPr>
          <a:lstStyle/>
          <a:p>
            <a:r>
              <a:rPr lang="en-US" dirty="0"/>
              <a:t>At a given scale, LLMs show emerging properties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392B9C83-3F44-CA6C-CE47-175795B60FD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28701" y="1028188"/>
            <a:ext cx="10135716" cy="354045"/>
          </a:xfrm>
        </p:spPr>
        <p:txBody>
          <a:bodyPr>
            <a:normAutofit lnSpcReduction="10000"/>
          </a:bodyPr>
          <a:lstStyle/>
          <a:p>
            <a:r>
              <a:rPr lang="en-US" dirty="0"/>
              <a:t>And this was a surprise</a:t>
            </a:r>
          </a:p>
        </p:txBody>
      </p:sp>
      <p:pic>
        <p:nvPicPr>
          <p:cNvPr id="9" name="Picture 2">
            <a:extLst>
              <a:ext uri="{FF2B5EF4-FFF2-40B4-BE49-F238E27FC236}">
                <a16:creationId xmlns:a16="http://schemas.microsoft.com/office/drawing/2014/main" id="{8A48F0F0-C999-E5EA-8196-9C8F2138848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9762" y="1484625"/>
            <a:ext cx="7189496" cy="47731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AB509F89-7743-8816-C363-14E0BA9DF74F}"/>
              </a:ext>
            </a:extLst>
          </p:cNvPr>
          <p:cNvSpPr/>
          <p:nvPr/>
        </p:nvSpPr>
        <p:spPr>
          <a:xfrm>
            <a:off x="749507" y="4484617"/>
            <a:ext cx="1828801" cy="839329"/>
          </a:xfrm>
          <a:prstGeom prst="roundRect">
            <a:avLst>
              <a:gd name="adj" fmla="val 12054"/>
            </a:avLst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HurmeGeometricSans1 Regular" panose="020B0500020000000000" pitchFamily="34" charset="0"/>
                <a:cs typeface="Cordia New" panose="020B0304020202020204" pitchFamily="34" charset="-34"/>
              </a:rPr>
              <a:t>Autocompletion</a:t>
            </a:r>
            <a:endParaRPr lang="en-FR">
              <a:solidFill>
                <a:schemeClr val="tx1"/>
              </a:solidFill>
              <a:latin typeface="HurmeGeometricSans1 Regular" panose="020B0500020000000000" pitchFamily="34" charset="0"/>
              <a:cs typeface="Cordia New" panose="020B0304020202020204" pitchFamily="34" charset="-34"/>
            </a:endParaRPr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9A48E9B8-596D-1D8B-C653-2795069644D0}"/>
              </a:ext>
            </a:extLst>
          </p:cNvPr>
          <p:cNvSpPr/>
          <p:nvPr/>
        </p:nvSpPr>
        <p:spPr>
          <a:xfrm>
            <a:off x="8349249" y="4348987"/>
            <a:ext cx="2763423" cy="839329"/>
          </a:xfrm>
          <a:prstGeom prst="roundRect">
            <a:avLst>
              <a:gd name="adj" fmla="val 12054"/>
            </a:avLst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HurmeGeometricSans1 Regular" panose="020B0500020000000000" pitchFamily="34" charset="0"/>
                <a:cs typeface="Cordia New" panose="020B0304020202020204" pitchFamily="34" charset="-34"/>
              </a:rPr>
              <a:t>Learn from input examples</a:t>
            </a:r>
            <a:endParaRPr lang="en-FR">
              <a:solidFill>
                <a:schemeClr val="tx1"/>
              </a:solidFill>
              <a:latin typeface="HurmeGeometricSans1 Regular" panose="020B0500020000000000" pitchFamily="34" charset="0"/>
              <a:cs typeface="Cordia New" panose="020B0304020202020204" pitchFamily="34" charset="-34"/>
            </a:endParaRPr>
          </a:p>
        </p:txBody>
      </p:sp>
      <p:sp>
        <p:nvSpPr>
          <p:cNvPr id="12" name="Rounded Rectangle 11">
            <a:extLst>
              <a:ext uri="{FF2B5EF4-FFF2-40B4-BE49-F238E27FC236}">
                <a16:creationId xmlns:a16="http://schemas.microsoft.com/office/drawing/2014/main" id="{FB476E23-E7B8-5462-914C-E77A352CD5E5}"/>
              </a:ext>
            </a:extLst>
          </p:cNvPr>
          <p:cNvSpPr/>
          <p:nvPr/>
        </p:nvSpPr>
        <p:spPr>
          <a:xfrm>
            <a:off x="8364274" y="3279571"/>
            <a:ext cx="2763423" cy="839329"/>
          </a:xfrm>
          <a:prstGeom prst="roundRect">
            <a:avLst>
              <a:gd name="adj" fmla="val 12054"/>
            </a:avLst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HurmeGeometricSans1 Regular" panose="020B0500020000000000" pitchFamily="34" charset="0"/>
                <a:cs typeface="Cordia New" panose="020B0304020202020204" pitchFamily="34" charset="-34"/>
              </a:rPr>
              <a:t>Perform tasks </a:t>
            </a:r>
            <a:br>
              <a:rPr lang="en-US" dirty="0">
                <a:solidFill>
                  <a:schemeClr val="tx1"/>
                </a:solidFill>
                <a:latin typeface="HurmeGeometricSans1 Regular" panose="020B0500020000000000" pitchFamily="34" charset="0"/>
                <a:cs typeface="Cordia New" panose="020B0304020202020204" pitchFamily="34" charset="-34"/>
              </a:rPr>
            </a:br>
            <a:r>
              <a:rPr lang="en-US" dirty="0">
                <a:solidFill>
                  <a:schemeClr val="tx1"/>
                </a:solidFill>
                <a:latin typeface="HurmeGeometricSans1 Regular" panose="020B0500020000000000" pitchFamily="34" charset="0"/>
                <a:cs typeface="Cordia New" panose="020B0304020202020204" pitchFamily="34" charset="-34"/>
              </a:rPr>
              <a:t>it has never done before</a:t>
            </a:r>
            <a:endParaRPr lang="en-FR">
              <a:solidFill>
                <a:schemeClr val="tx1"/>
              </a:solidFill>
              <a:latin typeface="HurmeGeometricSans1 Regular" panose="020B0500020000000000" pitchFamily="34" charset="0"/>
              <a:cs typeface="Cordia New" panose="020B0304020202020204" pitchFamily="34" charset="-34"/>
            </a:endParaRP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11AE9E08-6642-5185-6DA4-CFF0DA0AB370}"/>
              </a:ext>
            </a:extLst>
          </p:cNvPr>
          <p:cNvSpPr/>
          <p:nvPr/>
        </p:nvSpPr>
        <p:spPr>
          <a:xfrm>
            <a:off x="8389258" y="2203157"/>
            <a:ext cx="2763423" cy="839329"/>
          </a:xfrm>
          <a:prstGeom prst="roundRect">
            <a:avLst>
              <a:gd name="adj" fmla="val 12054"/>
            </a:avLst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HurmeGeometricSans1 Regular" panose="020B0500020000000000" pitchFamily="34" charset="0"/>
                <a:cs typeface="Cordia New" panose="020B0304020202020204" pitchFamily="34" charset="-34"/>
              </a:rPr>
              <a:t>Chat</a:t>
            </a:r>
            <a:endParaRPr lang="en-FR">
              <a:solidFill>
                <a:schemeClr val="tx1"/>
              </a:solidFill>
              <a:latin typeface="HurmeGeometricSans1 Regular" panose="020B0500020000000000" pitchFamily="34" charset="0"/>
              <a:cs typeface="Cordia New" panose="020B0304020202020204" pitchFamily="34" charset="-34"/>
            </a:endParaRP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A5C8C04D-1010-81EC-FC64-C145E4DC328F}"/>
              </a:ext>
            </a:extLst>
          </p:cNvPr>
          <p:cNvCxnSpPr>
            <a:cxnSpLocks/>
            <a:stCxn id="10" idx="3"/>
          </p:cNvCxnSpPr>
          <p:nvPr/>
        </p:nvCxnSpPr>
        <p:spPr>
          <a:xfrm>
            <a:off x="2578308" y="4904282"/>
            <a:ext cx="2263514" cy="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78B7D68F-E17A-6E38-9D19-988B63947D06}"/>
              </a:ext>
            </a:extLst>
          </p:cNvPr>
          <p:cNvCxnSpPr>
            <a:cxnSpLocks/>
            <a:stCxn id="11" idx="1"/>
          </p:cNvCxnSpPr>
          <p:nvPr/>
        </p:nvCxnSpPr>
        <p:spPr>
          <a:xfrm flipH="1">
            <a:off x="7585021" y="4768652"/>
            <a:ext cx="764228" cy="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DBDFF116-85FC-B9B5-8836-AAC6A4B11CB5}"/>
              </a:ext>
            </a:extLst>
          </p:cNvPr>
          <p:cNvCxnSpPr>
            <a:cxnSpLocks/>
            <a:stCxn id="12" idx="1"/>
          </p:cNvCxnSpPr>
          <p:nvPr/>
        </p:nvCxnSpPr>
        <p:spPr>
          <a:xfrm flipH="1">
            <a:off x="7585022" y="3699236"/>
            <a:ext cx="779252" cy="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3DC818DE-494B-89D0-DD37-E97D123ACC06}"/>
              </a:ext>
            </a:extLst>
          </p:cNvPr>
          <p:cNvCxnSpPr>
            <a:cxnSpLocks/>
            <a:stCxn id="13" idx="1"/>
          </p:cNvCxnSpPr>
          <p:nvPr/>
        </p:nvCxnSpPr>
        <p:spPr>
          <a:xfrm flipH="1">
            <a:off x="7560038" y="2622822"/>
            <a:ext cx="829220" cy="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377881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81E828F-D28C-1E59-A7CD-FB79A2B58ED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>
                <a:latin typeface="Helvetica" pitchFamily="2" charset="0"/>
              </a:rPr>
              <a:t> Alberto Lumbreras </a:t>
            </a:r>
            <a:r>
              <a:rPr lang="en-US" dirty="0"/>
              <a:t>| </a:t>
            </a:r>
            <a:fld id="{3633D75A-BE2D-484B-925B-BF3693E8768D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FE1F43CB-4549-07A2-FE6A-F7B917EEE8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9775" y="571751"/>
            <a:ext cx="10134599" cy="456437"/>
          </a:xfrm>
        </p:spPr>
        <p:txBody>
          <a:bodyPr>
            <a:normAutofit fontScale="90000"/>
          </a:bodyPr>
          <a:lstStyle/>
          <a:p>
            <a:r>
              <a:rPr lang="en-US" dirty="0"/>
              <a:t>It doesn’t mean AI systems will take over the world</a:t>
            </a:r>
            <a:endParaRPr lang="en-FR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8F8172C7-8776-EDDB-4F85-4238764604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28701" y="1028188"/>
            <a:ext cx="10135716" cy="354045"/>
          </a:xfrm>
        </p:spPr>
        <p:txBody>
          <a:bodyPr>
            <a:normAutofit lnSpcReduction="10000"/>
          </a:bodyPr>
          <a:lstStyle/>
          <a:p>
            <a:endParaRPr lang="en-FR"/>
          </a:p>
        </p:txBody>
      </p:sp>
      <p:pic>
        <p:nvPicPr>
          <p:cNvPr id="9" name="Picture 2" descr="HAL 9000 — Wikipédia">
            <a:extLst>
              <a:ext uri="{FF2B5EF4-FFF2-40B4-BE49-F238E27FC236}">
                <a16:creationId xmlns:a16="http://schemas.microsoft.com/office/drawing/2014/main" id="{24A4FB85-DC4A-2486-ACA2-DA0A78AE6E2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701" y="1826675"/>
            <a:ext cx="1543699" cy="44595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10" descr="Top 10 facts about orangutans | WWF">
            <a:extLst>
              <a:ext uri="{FF2B5EF4-FFF2-40B4-BE49-F238E27FC236}">
                <a16:creationId xmlns:a16="http://schemas.microsoft.com/office/drawing/2014/main" id="{216DF097-FA68-EF09-8931-93D5E0699DD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3199" y="4718054"/>
            <a:ext cx="2342491" cy="1568195"/>
          </a:xfrm>
          <a:prstGeom prst="rect">
            <a:avLst/>
          </a:prstGeom>
          <a:noFill/>
          <a:ln w="57150">
            <a:solidFill>
              <a:srgbClr val="00B05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4" descr="What is the most dominant animal in the Amazon rainforest? - Quora">
            <a:extLst>
              <a:ext uri="{FF2B5EF4-FFF2-40B4-BE49-F238E27FC236}">
                <a16:creationId xmlns:a16="http://schemas.microsoft.com/office/drawing/2014/main" id="{2A5D4B43-7646-AB7F-B981-9362B13A106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54051" y="4727428"/>
            <a:ext cx="2342491" cy="1558821"/>
          </a:xfrm>
          <a:prstGeom prst="rect">
            <a:avLst/>
          </a:prstGeom>
          <a:noFill/>
          <a:ln w="57150">
            <a:solidFill>
              <a:srgbClr val="FF0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0E184DB7-46E0-D551-0C8A-3DBF5C350D9D}"/>
              </a:ext>
            </a:extLst>
          </p:cNvPr>
          <p:cNvSpPr txBox="1"/>
          <p:nvPr/>
        </p:nvSpPr>
        <p:spPr>
          <a:xfrm>
            <a:off x="3955647" y="3773920"/>
            <a:ext cx="6510759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000" dirty="0">
                <a:solidFill>
                  <a:schemeClr val="tx1"/>
                </a:solidFill>
                <a:latin typeface="HurmeGeometricSans1 Regular" panose="020B0500020000000000" pitchFamily="34" charset="0"/>
                <a:cs typeface="Cordia New" panose="020B0304020202020204" pitchFamily="34" charset="-34"/>
              </a:rPr>
              <a:t>But event if they were </a:t>
            </a:r>
            <a:r>
              <a:rPr lang="en-US" sz="2000" i="1" dirty="0">
                <a:solidFill>
                  <a:schemeClr val="tx1"/>
                </a:solidFill>
                <a:latin typeface="HurmeGeometricSans1 Regular" panose="020B0500020000000000" pitchFamily="34" charset="0"/>
                <a:cs typeface="Cordia New" panose="020B0304020202020204" pitchFamily="34" charset="-34"/>
              </a:rPr>
              <a:t>smarter</a:t>
            </a:r>
            <a:r>
              <a:rPr lang="en-US" sz="2000" dirty="0">
                <a:solidFill>
                  <a:schemeClr val="tx1"/>
                </a:solidFill>
                <a:latin typeface="HurmeGeometricSans1 Regular" panose="020B0500020000000000" pitchFamily="34" charset="0"/>
                <a:cs typeface="Cordia New" panose="020B0304020202020204" pitchFamily="34" charset="-34"/>
              </a:rPr>
              <a:t>, </a:t>
            </a:r>
            <a:r>
              <a:rPr lang="en-US" sz="2000" b="1" dirty="0">
                <a:solidFill>
                  <a:srgbClr val="00B050"/>
                </a:solidFill>
                <a:latin typeface="HurmeGeometricSans1 Regular" panose="020B0500020000000000" pitchFamily="34" charset="0"/>
                <a:cs typeface="Cordia New" panose="020B0304020202020204" pitchFamily="34" charset="-34"/>
              </a:rPr>
              <a:t>they are not social species</a:t>
            </a:r>
            <a:r>
              <a:rPr lang="en-US" sz="2000" b="1" dirty="0">
                <a:solidFill>
                  <a:schemeClr val="tx1"/>
                </a:solidFill>
                <a:latin typeface="HurmeGeometricSans1 Regular" panose="020B0500020000000000" pitchFamily="34" charset="0"/>
                <a:cs typeface="Cordia New" panose="020B0304020202020204" pitchFamily="34" charset="-34"/>
              </a:rPr>
              <a:t>.</a:t>
            </a:r>
            <a:br>
              <a:rPr lang="en-US" sz="2000" b="1" dirty="0">
                <a:solidFill>
                  <a:schemeClr val="tx1"/>
                </a:solidFill>
                <a:latin typeface="HurmeGeometricSans1 Regular" panose="020B0500020000000000" pitchFamily="34" charset="0"/>
                <a:cs typeface="Cordia New" panose="020B0304020202020204" pitchFamily="34" charset="-34"/>
              </a:rPr>
            </a:br>
            <a:r>
              <a:rPr lang="en-US" sz="2000" dirty="0">
                <a:solidFill>
                  <a:srgbClr val="FF0000"/>
                </a:solidFill>
                <a:latin typeface="HurmeGeometricSans1 Regular" panose="020B0500020000000000" pitchFamily="34" charset="0"/>
                <a:cs typeface="Cordia New" panose="020B0304020202020204" pitchFamily="34" charset="-34"/>
              </a:rPr>
              <a:t>Dominance</a:t>
            </a:r>
            <a:r>
              <a:rPr lang="en-US" sz="2000" dirty="0">
                <a:solidFill>
                  <a:schemeClr val="tx1"/>
                </a:solidFill>
                <a:latin typeface="HurmeGeometricSans1 Regular" panose="020B0500020000000000" pitchFamily="34" charset="0"/>
                <a:cs typeface="Cordia New" panose="020B0304020202020204" pitchFamily="34" charset="-34"/>
              </a:rPr>
              <a:t> is a strategy of (some) social species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C93B5E6-40E8-542C-C176-B5498C98008B}"/>
              </a:ext>
            </a:extLst>
          </p:cNvPr>
          <p:cNvSpPr txBox="1"/>
          <p:nvPr/>
        </p:nvSpPr>
        <p:spPr>
          <a:xfrm>
            <a:off x="3975903" y="1668309"/>
            <a:ext cx="6099858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000" dirty="0">
                <a:solidFill>
                  <a:schemeClr val="tx1"/>
                </a:solidFill>
                <a:latin typeface="HurmeGeometricSans1 Regular" panose="020B0500020000000000" pitchFamily="34" charset="0"/>
                <a:cs typeface="Cordia New" panose="020B0304020202020204" pitchFamily="34" charset="-34"/>
              </a:rPr>
              <a:t>AI systems are not that smart </a:t>
            </a:r>
            <a:br>
              <a:rPr lang="en-US" sz="2000" dirty="0">
                <a:solidFill>
                  <a:schemeClr val="tx1"/>
                </a:solidFill>
                <a:latin typeface="HurmeGeometricSans1 Regular" panose="020B0500020000000000" pitchFamily="34" charset="0"/>
                <a:cs typeface="Cordia New" panose="020B0304020202020204" pitchFamily="34" charset="-34"/>
              </a:rPr>
            </a:br>
            <a:r>
              <a:rPr lang="en-US" sz="2000" dirty="0">
                <a:solidFill>
                  <a:schemeClr val="tx1"/>
                </a:solidFill>
                <a:latin typeface="HurmeGeometricSans1 Regular" panose="020B0500020000000000" pitchFamily="34" charset="0"/>
                <a:cs typeface="Cordia New" panose="020B0304020202020204" pitchFamily="34" charset="-34"/>
              </a:rPr>
              <a:t>(they just outperform humans in some specialized tasks) </a:t>
            </a:r>
            <a:endParaRPr lang="en-FR" sz="2000">
              <a:solidFill>
                <a:schemeClr val="tx1"/>
              </a:solidFill>
              <a:latin typeface="HurmeGeometricSans1 Regular" panose="020B0500020000000000" pitchFamily="34" charset="0"/>
              <a:cs typeface="Cordia New" panose="020B0304020202020204" pitchFamily="34" charset="-34"/>
            </a:endParaRPr>
          </a:p>
        </p:txBody>
      </p:sp>
      <p:pic>
        <p:nvPicPr>
          <p:cNvPr id="14" name="Picture 18" descr="What does your cat mean by 'miaow'? Let Japan's pet guru Yuki Hattori  explain | Cats | The Guardian">
            <a:extLst>
              <a:ext uri="{FF2B5EF4-FFF2-40B4-BE49-F238E27FC236}">
                <a16:creationId xmlns:a16="http://schemas.microsoft.com/office/drawing/2014/main" id="{2E43F21C-DBDB-A334-384E-7F7549461E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6696" y="2314640"/>
            <a:ext cx="1968662" cy="11811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115319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5C15E52-F596-C81C-7E4B-3849CCA5604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>
                <a:latin typeface="Helvetica" pitchFamily="2" charset="0"/>
              </a:rPr>
              <a:t> Alberto Lumbreras </a:t>
            </a:r>
            <a:r>
              <a:rPr lang="en-US" dirty="0"/>
              <a:t>| </a:t>
            </a:r>
            <a:fld id="{3633D75A-BE2D-484B-925B-BF3693E8768D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7C86EC21-1A93-D0AA-EBAA-D0668C8D67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9775" y="571751"/>
            <a:ext cx="10134599" cy="456437"/>
          </a:xfrm>
        </p:spPr>
        <p:txBody>
          <a:bodyPr>
            <a:normAutofit fontScale="90000"/>
          </a:bodyPr>
          <a:lstStyle/>
          <a:p>
            <a:r>
              <a:rPr lang="en-US" dirty="0"/>
              <a:t>But it can get out of control</a:t>
            </a:r>
            <a:endParaRPr lang="en-FR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4F223F31-9DEE-1546-7E69-10D42FEA414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28701" y="1028188"/>
            <a:ext cx="10135716" cy="354045"/>
          </a:xfrm>
        </p:spPr>
        <p:txBody>
          <a:bodyPr>
            <a:normAutofit lnSpcReduction="10000"/>
          </a:bodyPr>
          <a:lstStyle/>
          <a:p>
            <a:endParaRPr lang="en-FR"/>
          </a:p>
        </p:txBody>
      </p:sp>
      <p:pic>
        <p:nvPicPr>
          <p:cNvPr id="9" name="Picture 6" descr="Almost Everything in “Dr. Strangelove” Was True | The New Yorker">
            <a:extLst>
              <a:ext uri="{FF2B5EF4-FFF2-40B4-BE49-F238E27FC236}">
                <a16:creationId xmlns:a16="http://schemas.microsoft.com/office/drawing/2014/main" id="{8868F90C-60E0-7DBC-2043-4426912984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15473" y="2458516"/>
            <a:ext cx="4975448" cy="33712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ounded Rectangular Callout 9">
            <a:extLst>
              <a:ext uri="{FF2B5EF4-FFF2-40B4-BE49-F238E27FC236}">
                <a16:creationId xmlns:a16="http://schemas.microsoft.com/office/drawing/2014/main" id="{A6CF759B-4833-A7C9-5803-65A8133E71D7}"/>
              </a:ext>
            </a:extLst>
          </p:cNvPr>
          <p:cNvSpPr/>
          <p:nvPr/>
        </p:nvSpPr>
        <p:spPr>
          <a:xfrm>
            <a:off x="924529" y="4537648"/>
            <a:ext cx="2280213" cy="1199175"/>
          </a:xfrm>
          <a:prstGeom prst="wedgeRoundRectCallout">
            <a:avLst>
              <a:gd name="adj1" fmla="val 174598"/>
              <a:gd name="adj2" fmla="val -110274"/>
              <a:gd name="adj3" fmla="val 16667"/>
            </a:avLst>
          </a:prstGeom>
          <a:solidFill>
            <a:schemeClr val="tx1">
              <a:lumMod val="10000"/>
              <a:lumOff val="90000"/>
            </a:schemeClr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HurmeGeometricSans1 Regular" panose="020B0500020000000000" pitchFamily="34" charset="0"/>
                <a:cs typeface="Cordia New" panose="020B0304020202020204" pitchFamily="34" charset="-34"/>
              </a:rPr>
              <a:t>Hallucination and lack of factuality</a:t>
            </a:r>
            <a:endParaRPr lang="en-FR">
              <a:solidFill>
                <a:schemeClr val="tx1"/>
              </a:solidFill>
              <a:latin typeface="HurmeGeometricSans1 Regular" panose="020B0500020000000000" pitchFamily="34" charset="0"/>
              <a:cs typeface="Cordia New" panose="020B0304020202020204" pitchFamily="34" charset="-34"/>
            </a:endParaRPr>
          </a:p>
        </p:txBody>
      </p:sp>
      <p:sp>
        <p:nvSpPr>
          <p:cNvPr id="11" name="Rounded Rectangular Callout 10">
            <a:extLst>
              <a:ext uri="{FF2B5EF4-FFF2-40B4-BE49-F238E27FC236}">
                <a16:creationId xmlns:a16="http://schemas.microsoft.com/office/drawing/2014/main" id="{9287CA6E-00FD-8BB9-68ED-38C5E81F82EF}"/>
              </a:ext>
            </a:extLst>
          </p:cNvPr>
          <p:cNvSpPr/>
          <p:nvPr/>
        </p:nvSpPr>
        <p:spPr>
          <a:xfrm>
            <a:off x="924528" y="2092335"/>
            <a:ext cx="2280213" cy="732362"/>
          </a:xfrm>
          <a:prstGeom prst="wedgeRoundRectCallout">
            <a:avLst>
              <a:gd name="adj1" fmla="val 169522"/>
              <a:gd name="adj2" fmla="val 152913"/>
              <a:gd name="adj3" fmla="val 16667"/>
            </a:avLst>
          </a:prstGeom>
          <a:solidFill>
            <a:schemeClr val="tx1">
              <a:lumMod val="10000"/>
              <a:lumOff val="90000"/>
            </a:schemeClr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HurmeGeometricSans1 Regular" panose="020B0500020000000000" pitchFamily="34" charset="0"/>
                <a:cs typeface="Cordia New" panose="020B0304020202020204" pitchFamily="34" charset="-34"/>
              </a:rPr>
              <a:t>Fake news</a:t>
            </a:r>
            <a:endParaRPr lang="en-FR">
              <a:solidFill>
                <a:schemeClr val="tx1"/>
              </a:solidFill>
              <a:latin typeface="HurmeGeometricSans1 Regular" panose="020B0500020000000000" pitchFamily="34" charset="0"/>
              <a:cs typeface="Cordia New" panose="020B0304020202020204" pitchFamily="34" charset="-34"/>
            </a:endParaRPr>
          </a:p>
        </p:txBody>
      </p:sp>
      <p:sp>
        <p:nvSpPr>
          <p:cNvPr id="12" name="Rounded Rectangular Callout 11">
            <a:extLst>
              <a:ext uri="{FF2B5EF4-FFF2-40B4-BE49-F238E27FC236}">
                <a16:creationId xmlns:a16="http://schemas.microsoft.com/office/drawing/2014/main" id="{452F4BDB-833F-BAFE-A137-34B83EEF4C5D}"/>
              </a:ext>
            </a:extLst>
          </p:cNvPr>
          <p:cNvSpPr/>
          <p:nvPr/>
        </p:nvSpPr>
        <p:spPr>
          <a:xfrm>
            <a:off x="8777620" y="1521397"/>
            <a:ext cx="2280213" cy="798955"/>
          </a:xfrm>
          <a:prstGeom prst="wedgeRoundRectCallout">
            <a:avLst>
              <a:gd name="adj1" fmla="val -139108"/>
              <a:gd name="adj2" fmla="val 179827"/>
              <a:gd name="adj3" fmla="val 16667"/>
            </a:avLst>
          </a:prstGeom>
          <a:solidFill>
            <a:schemeClr val="tx1">
              <a:lumMod val="10000"/>
              <a:lumOff val="90000"/>
            </a:schemeClr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HurmeGeometricSans1 Regular" panose="020B0500020000000000" pitchFamily="34" charset="0"/>
                <a:cs typeface="Cordia New" panose="020B0304020202020204" pitchFamily="34" charset="-34"/>
              </a:rPr>
              <a:t>Biases in decision making</a:t>
            </a:r>
            <a:endParaRPr lang="en-FR">
              <a:solidFill>
                <a:schemeClr val="tx1"/>
              </a:solidFill>
              <a:latin typeface="HurmeGeometricSans1 Regular" panose="020B0500020000000000" pitchFamily="34" charset="0"/>
              <a:cs typeface="Cordia New" panose="020B0304020202020204" pitchFamily="34" charset="-34"/>
            </a:endParaRPr>
          </a:p>
        </p:txBody>
      </p:sp>
      <p:sp>
        <p:nvSpPr>
          <p:cNvPr id="13" name="Rounded Rectangular Callout 12">
            <a:extLst>
              <a:ext uri="{FF2B5EF4-FFF2-40B4-BE49-F238E27FC236}">
                <a16:creationId xmlns:a16="http://schemas.microsoft.com/office/drawing/2014/main" id="{242F74A1-2CBA-92C5-2486-325CA63B7256}"/>
              </a:ext>
            </a:extLst>
          </p:cNvPr>
          <p:cNvSpPr/>
          <p:nvPr/>
        </p:nvSpPr>
        <p:spPr>
          <a:xfrm>
            <a:off x="8980288" y="2905120"/>
            <a:ext cx="2280213" cy="659884"/>
          </a:xfrm>
          <a:prstGeom prst="wedgeRoundRectCallout">
            <a:avLst>
              <a:gd name="adj1" fmla="val -149767"/>
              <a:gd name="adj2" fmla="val 58835"/>
              <a:gd name="adj3" fmla="val 16667"/>
            </a:avLst>
          </a:prstGeom>
          <a:solidFill>
            <a:schemeClr val="tx1">
              <a:lumMod val="10000"/>
              <a:lumOff val="90000"/>
            </a:schemeClr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HurmeGeometricSans1 Regular" panose="020B0500020000000000" pitchFamily="34" charset="0"/>
                <a:cs typeface="Cordia New" panose="020B0304020202020204" pitchFamily="34" charset="-34"/>
              </a:rPr>
              <a:t>More CO2 emissions</a:t>
            </a:r>
            <a:endParaRPr lang="en-FR">
              <a:solidFill>
                <a:schemeClr val="tx1"/>
              </a:solidFill>
              <a:latin typeface="HurmeGeometricSans1 Regular" panose="020B0500020000000000" pitchFamily="34" charset="0"/>
              <a:cs typeface="Cordia New" panose="020B0304020202020204" pitchFamily="34" charset="-34"/>
            </a:endParaRPr>
          </a:p>
        </p:txBody>
      </p:sp>
      <p:sp>
        <p:nvSpPr>
          <p:cNvPr id="14" name="Rounded Rectangular Callout 13">
            <a:extLst>
              <a:ext uri="{FF2B5EF4-FFF2-40B4-BE49-F238E27FC236}">
                <a16:creationId xmlns:a16="http://schemas.microsoft.com/office/drawing/2014/main" id="{74E31E13-3C8E-6BA2-23D7-66CD69A10101}"/>
              </a:ext>
            </a:extLst>
          </p:cNvPr>
          <p:cNvSpPr/>
          <p:nvPr/>
        </p:nvSpPr>
        <p:spPr>
          <a:xfrm>
            <a:off x="8884161" y="3938061"/>
            <a:ext cx="2280213" cy="1199175"/>
          </a:xfrm>
          <a:prstGeom prst="wedgeRoundRectCallout">
            <a:avLst>
              <a:gd name="adj1" fmla="val -154843"/>
              <a:gd name="adj2" fmla="val -62979"/>
              <a:gd name="adj3" fmla="val 16667"/>
            </a:avLst>
          </a:prstGeom>
          <a:solidFill>
            <a:schemeClr val="tx1">
              <a:lumMod val="10000"/>
              <a:lumOff val="90000"/>
            </a:schemeClr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HurmeGeometricSans1 Regular" panose="020B0500020000000000" pitchFamily="34" charset="0"/>
                <a:cs typeface="Cordia New" panose="020B0304020202020204" pitchFamily="34" charset="-34"/>
              </a:rPr>
              <a:t>Autonomous IA agents doing unexpected things</a:t>
            </a:r>
            <a:endParaRPr lang="en-FR">
              <a:solidFill>
                <a:schemeClr val="tx1"/>
              </a:solidFill>
              <a:latin typeface="HurmeGeometricSans1 Regular" panose="020B0500020000000000" pitchFamily="34" charset="0"/>
              <a:cs typeface="Cordia New" panose="020B0304020202020204" pitchFamily="34" charset="-34"/>
            </a:endParaRPr>
          </a:p>
        </p:txBody>
      </p:sp>
      <p:sp>
        <p:nvSpPr>
          <p:cNvPr id="15" name="Rounded Rectangular Callout 14">
            <a:extLst>
              <a:ext uri="{FF2B5EF4-FFF2-40B4-BE49-F238E27FC236}">
                <a16:creationId xmlns:a16="http://schemas.microsoft.com/office/drawing/2014/main" id="{B13A581E-5840-D1B9-8D29-0DF8CBA11CE5}"/>
              </a:ext>
            </a:extLst>
          </p:cNvPr>
          <p:cNvSpPr/>
          <p:nvPr/>
        </p:nvSpPr>
        <p:spPr>
          <a:xfrm>
            <a:off x="3815787" y="1554193"/>
            <a:ext cx="2280213" cy="732362"/>
          </a:xfrm>
          <a:prstGeom prst="wedgeRoundRectCallout">
            <a:avLst>
              <a:gd name="adj1" fmla="val 50233"/>
              <a:gd name="adj2" fmla="val 167137"/>
              <a:gd name="adj3" fmla="val 16667"/>
            </a:avLst>
          </a:prstGeom>
          <a:solidFill>
            <a:schemeClr val="tx1">
              <a:lumMod val="10000"/>
              <a:lumOff val="90000"/>
            </a:schemeClr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HurmeGeometricSans1 Regular" panose="020B0500020000000000" pitchFamily="34" charset="0"/>
                <a:cs typeface="Cordia New" panose="020B0304020202020204" pitchFamily="34" charset="-34"/>
              </a:rPr>
              <a:t>Unemployment</a:t>
            </a:r>
            <a:endParaRPr lang="en-FR">
              <a:solidFill>
                <a:schemeClr val="tx1"/>
              </a:solidFill>
              <a:latin typeface="HurmeGeometricSans1 Regular" panose="020B0500020000000000" pitchFamily="34" charset="0"/>
              <a:cs typeface="Cordia New" panose="020B0304020202020204" pitchFamily="34" charset="-34"/>
            </a:endParaRPr>
          </a:p>
        </p:txBody>
      </p:sp>
      <p:sp>
        <p:nvSpPr>
          <p:cNvPr id="16" name="Rounded Rectangular Callout 15">
            <a:extLst>
              <a:ext uri="{FF2B5EF4-FFF2-40B4-BE49-F238E27FC236}">
                <a16:creationId xmlns:a16="http://schemas.microsoft.com/office/drawing/2014/main" id="{FA61D79F-71EA-02E1-ABE2-32885B516024}"/>
              </a:ext>
            </a:extLst>
          </p:cNvPr>
          <p:cNvSpPr/>
          <p:nvPr/>
        </p:nvSpPr>
        <p:spPr>
          <a:xfrm>
            <a:off x="6296703" y="1554193"/>
            <a:ext cx="2280213" cy="732362"/>
          </a:xfrm>
          <a:prstGeom prst="wedgeRoundRectCallout">
            <a:avLst>
              <a:gd name="adj1" fmla="val -41645"/>
              <a:gd name="adj2" fmla="val 162396"/>
              <a:gd name="adj3" fmla="val 16667"/>
            </a:avLst>
          </a:prstGeom>
          <a:solidFill>
            <a:schemeClr val="tx1">
              <a:lumMod val="10000"/>
              <a:lumOff val="90000"/>
            </a:schemeClr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HurmeGeometricSans1 Regular" panose="020B0500020000000000" pitchFamily="34" charset="0"/>
                <a:cs typeface="Cordia New" panose="020B0304020202020204" pitchFamily="34" charset="-34"/>
              </a:rPr>
              <a:t>Increase </a:t>
            </a:r>
            <a:br>
              <a:rPr lang="en-US" dirty="0">
                <a:solidFill>
                  <a:schemeClr val="tx1"/>
                </a:solidFill>
                <a:latin typeface="HurmeGeometricSans1 Regular" panose="020B0500020000000000" pitchFamily="34" charset="0"/>
                <a:cs typeface="Cordia New" panose="020B0304020202020204" pitchFamily="34" charset="-34"/>
              </a:rPr>
            </a:br>
            <a:r>
              <a:rPr lang="en-US" dirty="0">
                <a:solidFill>
                  <a:schemeClr val="tx1"/>
                </a:solidFill>
                <a:latin typeface="HurmeGeometricSans1 Regular" panose="020B0500020000000000" pitchFamily="34" charset="0"/>
                <a:cs typeface="Cordia New" panose="020B0304020202020204" pitchFamily="34" charset="-34"/>
              </a:rPr>
              <a:t>North-South gap</a:t>
            </a:r>
            <a:endParaRPr lang="en-FR">
              <a:solidFill>
                <a:schemeClr val="tx1"/>
              </a:solidFill>
              <a:latin typeface="HurmeGeometricSans1 Regular" panose="020B0500020000000000" pitchFamily="34" charset="0"/>
              <a:cs typeface="Cordia New" panose="020B0304020202020204" pitchFamily="34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211567154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675A3E-2C72-3389-DBE7-4BF1ED1FC1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56769" y="1500521"/>
            <a:ext cx="6604886" cy="712567"/>
          </a:xfrm>
        </p:spPr>
        <p:txBody>
          <a:bodyPr/>
          <a:lstStyle/>
          <a:p>
            <a:pPr algn="ctr"/>
            <a:r>
              <a:rPr lang="en-US" sz="5400" dirty="0">
                <a:solidFill>
                  <a:schemeClr val="tx1"/>
                </a:solidFill>
              </a:rPr>
              <a:t>Challenges and task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A797ADF-7068-FE40-9A42-A102527E57F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8284" y="3000817"/>
            <a:ext cx="2146300" cy="1854200"/>
          </a:xfrm>
          <a:prstGeom prst="rect">
            <a:avLst/>
          </a:prstGeom>
        </p:spPr>
      </p:pic>
      <p:pic>
        <p:nvPicPr>
          <p:cNvPr id="4" name="Picture 2" descr="Tree Symbol Images - Free Download on Freepik">
            <a:extLst>
              <a:ext uri="{FF2B5EF4-FFF2-40B4-BE49-F238E27FC236}">
                <a16:creationId xmlns:a16="http://schemas.microsoft.com/office/drawing/2014/main" id="{C4D64E3C-5C33-11AE-89EA-C9109D438D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9880" y="3058141"/>
            <a:ext cx="1918665" cy="19186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42A83FE4-D04E-E51B-69E5-B73E9CBF1B1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636442" y="3033753"/>
            <a:ext cx="2146300" cy="1967442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70905C03-F42C-D2F7-D3AF-B25D14E7B0A8}"/>
              </a:ext>
            </a:extLst>
          </p:cNvPr>
          <p:cNvSpPr txBox="1">
            <a:spLocks/>
          </p:cNvSpPr>
          <p:nvPr/>
        </p:nvSpPr>
        <p:spPr>
          <a:xfrm>
            <a:off x="1439925" y="5001195"/>
            <a:ext cx="2720050" cy="36946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4400" b="1" i="0" kern="1200">
                <a:solidFill>
                  <a:schemeClr val="tx2"/>
                </a:solidFill>
                <a:latin typeface="Hurme Geometric Sans 4 Bold" panose="020B0A00020000000000" pitchFamily="34" charset="0"/>
                <a:ea typeface="+mj-ea"/>
                <a:cs typeface="Cordia New" panose="020B0304020202020204" pitchFamily="34" charset="-34"/>
              </a:defRPr>
            </a:lvl1pPr>
          </a:lstStyle>
          <a:p>
            <a:r>
              <a:rPr lang="en-US" sz="2800" dirty="0">
                <a:solidFill>
                  <a:schemeClr val="tx1"/>
                </a:solidFill>
              </a:rPr>
              <a:t>Democratic AI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278F3DC0-7F9F-AF0B-5626-34A289340594}"/>
              </a:ext>
            </a:extLst>
          </p:cNvPr>
          <p:cNvSpPr txBox="1">
            <a:spLocks/>
          </p:cNvSpPr>
          <p:nvPr/>
        </p:nvSpPr>
        <p:spPr>
          <a:xfrm>
            <a:off x="4917994" y="5001195"/>
            <a:ext cx="2720050" cy="36946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4400" b="1" i="0" kern="1200">
                <a:solidFill>
                  <a:schemeClr val="bg1"/>
                </a:solidFill>
                <a:latin typeface="Hurme Geometric Sans 4 Bold" panose="020B0A00020000000000" pitchFamily="34" charset="0"/>
                <a:ea typeface="+mj-ea"/>
                <a:cs typeface="Cordia New" panose="020B0304020202020204" pitchFamily="34" charset="-34"/>
              </a:defRPr>
            </a:lvl1pPr>
          </a:lstStyle>
          <a:p>
            <a:r>
              <a:rPr lang="en-US" sz="2800" dirty="0">
                <a:solidFill>
                  <a:schemeClr val="tx1"/>
                </a:solidFill>
              </a:rPr>
              <a:t>Sustainable AI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491B9CC-14F4-8A4B-0E18-332EB7D95A4C}"/>
              </a:ext>
            </a:extLst>
          </p:cNvPr>
          <p:cNvSpPr txBox="1">
            <a:spLocks/>
          </p:cNvSpPr>
          <p:nvPr/>
        </p:nvSpPr>
        <p:spPr>
          <a:xfrm>
            <a:off x="8530541" y="5001195"/>
            <a:ext cx="2720050" cy="36946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4400" b="1" i="0" kern="1200">
                <a:solidFill>
                  <a:schemeClr val="bg1"/>
                </a:solidFill>
                <a:latin typeface="Hurme Geometric Sans 4 Bold" panose="020B0A00020000000000" pitchFamily="34" charset="0"/>
                <a:ea typeface="+mj-ea"/>
                <a:cs typeface="Cordia New" panose="020B0304020202020204" pitchFamily="34" charset="-34"/>
              </a:defRPr>
            </a:lvl1pPr>
          </a:lstStyle>
          <a:p>
            <a:r>
              <a:rPr lang="en-US" sz="2800" dirty="0">
                <a:solidFill>
                  <a:schemeClr val="tx1"/>
                </a:solidFill>
              </a:rPr>
              <a:t>Redistributive AI</a:t>
            </a:r>
          </a:p>
        </p:txBody>
      </p:sp>
    </p:spTree>
    <p:extLst>
      <p:ext uri="{BB962C8B-B14F-4D97-AF65-F5344CB8AC3E}">
        <p14:creationId xmlns:p14="http://schemas.microsoft.com/office/powerpoint/2010/main" val="352749455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96475E0-C418-57F2-34B5-72A38D99B73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633D75A-BE2D-484B-925B-BF3693E8768D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005C1075-23CD-183B-116B-6E584D0328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9775" y="571751"/>
            <a:ext cx="10134599" cy="456437"/>
          </a:xfrm>
        </p:spPr>
        <p:txBody>
          <a:bodyPr>
            <a:normAutofit fontScale="90000"/>
          </a:bodyPr>
          <a:lstStyle/>
          <a:p>
            <a:r>
              <a:rPr lang="en-US" dirty="0"/>
              <a:t>Democratic AI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48D5825A-590A-7CD0-3B42-2D3C2F6707C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28701" y="1028188"/>
            <a:ext cx="10135716" cy="354045"/>
          </a:xfrm>
        </p:spPr>
        <p:txBody>
          <a:bodyPr>
            <a:normAutofit fontScale="92500" lnSpcReduction="10000"/>
          </a:bodyPr>
          <a:lstStyle/>
          <a:p>
            <a:r>
              <a:rPr lang="en-US" sz="2300" dirty="0"/>
              <a:t>Why (1): To reduce and control bias and discrimination</a:t>
            </a:r>
          </a:p>
          <a:p>
            <a:endParaRPr lang="en-US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98B58D42-3EF3-7D1E-CB48-F2B5497510A3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091410" y="1932268"/>
            <a:ext cx="5754064" cy="845655"/>
          </a:xfrm>
        </p:spPr>
        <p:txBody>
          <a:bodyPr>
            <a:noAutofit/>
          </a:bodyPr>
          <a:lstStyle/>
          <a:p>
            <a:pPr algn="ctr"/>
            <a:r>
              <a:rPr lang="en-US" sz="2000" dirty="0"/>
              <a:t>The </a:t>
            </a:r>
            <a:r>
              <a:rPr lang="en-US" sz="2000" b="1" dirty="0"/>
              <a:t>composition of the training dataset </a:t>
            </a:r>
            <a:br>
              <a:rPr lang="en-US" sz="2000" dirty="0"/>
            </a:br>
            <a:r>
              <a:rPr lang="en-US" sz="2000" dirty="0"/>
              <a:t>has a huge effect in the model outputs</a:t>
            </a:r>
          </a:p>
        </p:txBody>
      </p:sp>
      <p:pic>
        <p:nvPicPr>
          <p:cNvPr id="12" name="Picture 8" descr="Top 10 LLM Training Datasets – It's Money Laundering for Copyrighted Data!  – Be on the Right Side of Change">
            <a:extLst>
              <a:ext uri="{FF2B5EF4-FFF2-40B4-BE49-F238E27FC236}">
                <a16:creationId xmlns:a16="http://schemas.microsoft.com/office/drawing/2014/main" id="{A6716673-05A1-8F80-7437-8E6C4AA93E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10558" y="3029922"/>
            <a:ext cx="5515769" cy="3429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EE7101E9-FE8B-B3CD-266B-FCE93AA5156C}"/>
              </a:ext>
            </a:extLst>
          </p:cNvPr>
          <p:cNvSpPr txBox="1">
            <a:spLocks/>
          </p:cNvSpPr>
          <p:nvPr/>
        </p:nvSpPr>
        <p:spPr>
          <a:xfrm>
            <a:off x="8313468" y="914079"/>
            <a:ext cx="2752737" cy="582264"/>
          </a:xfrm>
          <a:prstGeom prst="rect">
            <a:avLst/>
          </a:prstGeom>
        </p:spPr>
        <p:txBody>
          <a:bodyPr vert="horz" lIns="0" tIns="45720" rIns="91440" bIns="45720" rtlCol="0">
            <a:normAutofit lnSpcReduction="10000"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Cordia New" panose="020B0304020202020204" pitchFamily="34" charset="-34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Cordia New" panose="020B0304020202020204" pitchFamily="34" charset="-34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Cordia New" panose="020B0304020202020204" pitchFamily="34" charset="-34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Cordia New" panose="020B0304020202020204" pitchFamily="34" charset="-34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Cordia New" panose="020B0304020202020204" pitchFamily="34" charset="-34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The COMPAS software was used to</a:t>
            </a:r>
            <a:br>
              <a:rPr lang="en-US" dirty="0"/>
            </a:br>
            <a:r>
              <a:rPr lang="en-US" dirty="0"/>
              <a:t>guide judges in the US</a:t>
            </a:r>
          </a:p>
          <a:p>
            <a:endParaRPr lang="en-US" dirty="0"/>
          </a:p>
        </p:txBody>
      </p:sp>
      <p:pic>
        <p:nvPicPr>
          <p:cNvPr id="14" name="Picture 2" descr="What Is Bias in Machine Learning? [Real-World Examples]">
            <a:extLst>
              <a:ext uri="{FF2B5EF4-FFF2-40B4-BE49-F238E27FC236}">
                <a16:creationId xmlns:a16="http://schemas.microsoft.com/office/drawing/2014/main" id="{E974EA2F-4CC6-E16B-05E3-7C585B2F488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06106" y="1382233"/>
            <a:ext cx="3655669" cy="54835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239090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riteo Master Sales 2021 - Sunrise">
  <a:themeElements>
    <a:clrScheme name="Criteo Core 2021">
      <a:dk1>
        <a:srgbClr val="2A2E33"/>
      </a:dk1>
      <a:lt1>
        <a:srgbClr val="FFFFFF"/>
      </a:lt1>
      <a:dk2>
        <a:srgbClr val="FE5000"/>
      </a:dk2>
      <a:lt2>
        <a:srgbClr val="F8F9FB"/>
      </a:lt2>
      <a:accent1>
        <a:srgbClr val="5D0054"/>
      </a:accent1>
      <a:accent2>
        <a:srgbClr val="006CD6"/>
      </a:accent2>
      <a:accent3>
        <a:srgbClr val="D1D5E6"/>
      </a:accent3>
      <a:accent4>
        <a:srgbClr val="FFEDCC"/>
      </a:accent4>
      <a:accent5>
        <a:srgbClr val="DEF9BB"/>
      </a:accent5>
      <a:accent6>
        <a:srgbClr val="130183"/>
      </a:accent6>
      <a:hlink>
        <a:srgbClr val="FE5000"/>
      </a:hlink>
      <a:folHlink>
        <a:srgbClr val="727983"/>
      </a:folHlink>
    </a:clrScheme>
    <a:fontScheme name="Criteo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>
          <a:gsLst>
            <a:gs pos="0">
              <a:srgbClr val="F68926"/>
            </a:gs>
            <a:gs pos="100000">
              <a:srgbClr val="F26333"/>
            </a:gs>
          </a:gsLst>
          <a:lin ang="0" scaled="0"/>
        </a:gra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Criteo-Deck-2023" id="{CFA873C8-9A2C-5F4A-A790-26D16195FBB6}" vid="{9DFA8C90-273E-2148-85BC-22B0AE116AF4}"/>
    </a:ext>
  </a:extLst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0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9032AA29-7AFC-344F-9242-4AB4F59D4EF3}">
  <we:reference id="wa104381063" version="1.0.0.0" store="en-US" storeType="OMEX"/>
  <we:alternateReferences>
    <we:reference id="wa104381063" version="1.0.0.0" store="wa104381063" storeType="OMEX"/>
  </we:alternateReferences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e0fbab11-d6ff-4826-9339-e14db144c4e8">
      <UserInfo>
        <DisplayName>Kelsey Wahl</DisplayName>
        <AccountId>57</AccountId>
        <AccountType/>
      </UserInfo>
      <UserInfo>
        <DisplayName>Simon Paul</DisplayName>
        <AccountId>183</AccountId>
        <AccountType/>
      </UserInfo>
      <UserInfo>
        <DisplayName>Jack Gudgin</DisplayName>
        <AccountId>184</AccountId>
        <AccountType/>
      </UserInfo>
      <UserInfo>
        <DisplayName>Emma Routledge</DisplayName>
        <AccountId>185</AccountId>
        <AccountType/>
      </UserInfo>
      <UserInfo>
        <DisplayName>Kevin Matthys</DisplayName>
        <AccountId>196</AccountId>
        <AccountType/>
      </UserInfo>
    </SharedWithUsers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A1D4C1BB470CB409830BF5F910AF911" ma:contentTypeVersion="4" ma:contentTypeDescription="Create a new document." ma:contentTypeScope="" ma:versionID="02c1727c3877a940443dbfbff1b09781">
  <xsd:schema xmlns:xsd="http://www.w3.org/2001/XMLSchema" xmlns:xs="http://www.w3.org/2001/XMLSchema" xmlns:p="http://schemas.microsoft.com/office/2006/metadata/properties" xmlns:ns2="fd182274-fa79-490a-b575-4edd8cd81536" xmlns:ns3="e0fbab11-d6ff-4826-9339-e14db144c4e8" targetNamespace="http://schemas.microsoft.com/office/2006/metadata/properties" ma:root="true" ma:fieldsID="cec1e996a8ffdaf7956f37867d2f4421" ns2:_="" ns3:_="">
    <xsd:import namespace="fd182274-fa79-490a-b575-4edd8cd81536"/>
    <xsd:import namespace="e0fbab11-d6ff-4826-9339-e14db144c4e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d182274-fa79-490a-b575-4edd8cd8153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0fbab11-d6ff-4826-9339-e14db144c4e8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5395926-F42B-43E7-BA88-75BEFA228391}">
  <ds:schemaRefs>
    <ds:schemaRef ds:uri="http://purl.org/dc/terms/"/>
    <ds:schemaRef ds:uri="http://purl.org/dc/dcmitype/"/>
    <ds:schemaRef ds:uri="http://schemas.openxmlformats.org/package/2006/metadata/core-properties"/>
    <ds:schemaRef ds:uri="http://purl.org/dc/elements/1.1/"/>
    <ds:schemaRef ds:uri="http://schemas.microsoft.com/office/infopath/2007/PartnerControls"/>
    <ds:schemaRef ds:uri="http://schemas.microsoft.com/office/2006/documentManagement/types"/>
    <ds:schemaRef ds:uri="fd182274-fa79-490a-b575-4edd8cd81536"/>
    <ds:schemaRef ds:uri="http://www.w3.org/XML/1998/namespace"/>
    <ds:schemaRef ds:uri="e0fbab11-d6ff-4826-9339-e14db144c4e8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6CDEC45B-9DEE-4114-81EF-A4DA15EAB27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7DBEEBE-382B-41D0-99FC-EF846AD4968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d182274-fa79-490a-b575-4edd8cd81536"/>
    <ds:schemaRef ds:uri="e0fbab11-d6ff-4826-9339-e14db144c4e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riteo Master Sales 2021 - Sunrise</Template>
  <TotalTime>59161</TotalTime>
  <Words>860</Words>
  <Application>Microsoft Macintosh PowerPoint</Application>
  <PresentationFormat>Widescreen</PresentationFormat>
  <Paragraphs>128</Paragraphs>
  <Slides>19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32" baseType="lpstr">
      <vt:lpstr>Aptos</vt:lpstr>
      <vt:lpstr>Aptos Display</vt:lpstr>
      <vt:lpstr>Arial</vt:lpstr>
      <vt:lpstr>Calibri</vt:lpstr>
      <vt:lpstr>Century Gothic</vt:lpstr>
      <vt:lpstr>Helvetica</vt:lpstr>
      <vt:lpstr>Hurme Geometric Sans 4 Bold</vt:lpstr>
      <vt:lpstr>HurmeGeometricSans1 Regular</vt:lpstr>
      <vt:lpstr>HurmeGeometricSans1 SemiBold</vt:lpstr>
      <vt:lpstr>Verdana</vt:lpstr>
      <vt:lpstr>Criteo Master Sales 2021 - Sunrise</vt:lpstr>
      <vt:lpstr>Custom Design</vt:lpstr>
      <vt:lpstr>think-cell Slide</vt:lpstr>
      <vt:lpstr>PowerPoint Presentation</vt:lpstr>
      <vt:lpstr>What is AI?</vt:lpstr>
      <vt:lpstr>What is a language model</vt:lpstr>
      <vt:lpstr>How are language models trained</vt:lpstr>
      <vt:lpstr>At a given scale, LLMs show emerging properties</vt:lpstr>
      <vt:lpstr>It doesn’t mean AI systems will take over the world</vt:lpstr>
      <vt:lpstr>But it can get out of control</vt:lpstr>
      <vt:lpstr>Challenges and tasks</vt:lpstr>
      <vt:lpstr>Democratic AI</vt:lpstr>
      <vt:lpstr>Democratic AI</vt:lpstr>
      <vt:lpstr>Democratic AI</vt:lpstr>
      <vt:lpstr>Democratic AI</vt:lpstr>
      <vt:lpstr>Democratic AI</vt:lpstr>
      <vt:lpstr>Sustainable AI</vt:lpstr>
      <vt:lpstr>Sustainable AI</vt:lpstr>
      <vt:lpstr>Sustainable AI</vt:lpstr>
      <vt:lpstr>Redistributive AI</vt:lpstr>
      <vt:lpstr>Redistributive AI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opic modeling for publisher-ad alignment </dc:title>
  <dc:creator>Alberto Lumbreras</dc:creator>
  <cp:lastModifiedBy>Alberto Lumbreras</cp:lastModifiedBy>
  <cp:revision>215</cp:revision>
  <cp:lastPrinted>2023-02-27T10:15:52Z</cp:lastPrinted>
  <dcterms:created xsi:type="dcterms:W3CDTF">2023-03-27T14:38:26Z</dcterms:created>
  <dcterms:modified xsi:type="dcterms:W3CDTF">2024-07-15T03:19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A1D4C1BB470CB409830BF5F910AF911</vt:lpwstr>
  </property>
  <property fmtid="{D5CDD505-2E9C-101B-9397-08002B2CF9AE}" pid="3" name="ComplianceAssetId">
    <vt:lpwstr/>
  </property>
  <property fmtid="{D5CDD505-2E9C-101B-9397-08002B2CF9AE}" pid="4" name="_ExtendedDescription">
    <vt:lpwstr/>
  </property>
</Properties>
</file>